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739" r:id="rId1"/>
    <p:sldMasterId id="2147483685" r:id="rId2"/>
    <p:sldMasterId id="2147483707" r:id="rId3"/>
  </p:sldMasterIdLst>
  <p:notesMasterIdLst>
    <p:notesMasterId r:id="rId29"/>
  </p:notesMasterIdLst>
  <p:handoutMasterIdLst>
    <p:handoutMasterId r:id="rId30"/>
  </p:handoutMasterIdLst>
  <p:sldIdLst>
    <p:sldId id="2011" r:id="rId4"/>
    <p:sldId id="2222" r:id="rId5"/>
    <p:sldId id="2204" r:id="rId6"/>
    <p:sldId id="2209" r:id="rId7"/>
    <p:sldId id="2074" r:id="rId8"/>
    <p:sldId id="2206" r:id="rId9"/>
    <p:sldId id="2180" r:id="rId10"/>
    <p:sldId id="2183" r:id="rId11"/>
    <p:sldId id="2182" r:id="rId12"/>
    <p:sldId id="2080" r:id="rId13"/>
    <p:sldId id="2197" r:id="rId14"/>
    <p:sldId id="2142" r:id="rId15"/>
    <p:sldId id="2211" r:id="rId16"/>
    <p:sldId id="2218" r:id="rId17"/>
    <p:sldId id="2213" r:id="rId18"/>
    <p:sldId id="2214" r:id="rId19"/>
    <p:sldId id="2215" r:id="rId20"/>
    <p:sldId id="2216" r:id="rId21"/>
    <p:sldId id="2217" r:id="rId22"/>
    <p:sldId id="2199" r:id="rId23"/>
    <p:sldId id="2219" r:id="rId24"/>
    <p:sldId id="2220" r:id="rId25"/>
    <p:sldId id="2139" r:id="rId26"/>
    <p:sldId id="2195" r:id="rId27"/>
    <p:sldId id="2221" r:id="rId28"/>
  </p:sldIdLst>
  <p:sldSz cx="10439400" cy="7559675"/>
  <p:notesSz cx="7104063" cy="10234613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9pPr>
  </p:defaultTextStyle>
  <p:extLst>
    <p:ext uri="{521415D9-36F7-43E2-AB2F-B90AF26B5E84}">
      <p14:sectionLst xmlns:p14="http://schemas.microsoft.com/office/powerpoint/2010/main">
        <p14:section name="Intro" id="{16AC3D4F-CC77-422A-B674-24EFDAAA4EED}">
          <p14:sldIdLst>
            <p14:sldId id="2011"/>
            <p14:sldId id="2222"/>
            <p14:sldId id="2204"/>
            <p14:sldId id="2209"/>
          </p14:sldIdLst>
        </p14:section>
        <p14:section name="HOME" id="{FB23C1F2-268A-44D1-8784-7C229D889C88}">
          <p14:sldIdLst>
            <p14:sldId id="2074"/>
            <p14:sldId id="2206"/>
            <p14:sldId id="2180"/>
            <p14:sldId id="2183"/>
            <p14:sldId id="2182"/>
          </p14:sldIdLst>
        </p14:section>
        <p14:section name="통합검색" id="{13EB36BB-4AD8-4143-B6BF-19753C2EC5FF}">
          <p14:sldIdLst>
            <p14:sldId id="2080"/>
            <p14:sldId id="2197"/>
          </p14:sldIdLst>
        </p14:section>
        <p14:section name="서비스 요청" id="{49C1B530-CF5E-44F6-B2A9-BF2B928C4010}">
          <p14:sldIdLst>
            <p14:sldId id="2142"/>
            <p14:sldId id="2211"/>
            <p14:sldId id="2218"/>
            <p14:sldId id="2213"/>
            <p14:sldId id="2214"/>
            <p14:sldId id="2215"/>
            <p14:sldId id="2216"/>
            <p14:sldId id="2217"/>
            <p14:sldId id="2199"/>
          </p14:sldIdLst>
        </p14:section>
        <p14:section name="내프로필" id="{50E7B347-85F9-4A2B-842C-90535B7E3E12}">
          <p14:sldIdLst>
            <p14:sldId id="2219"/>
            <p14:sldId id="2220"/>
            <p14:sldId id="2139"/>
            <p14:sldId id="2195"/>
            <p14:sldId id="2221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4656" userDrawn="1">
          <p15:clr>
            <a:srgbClr val="C35EA4"/>
          </p15:clr>
        </p15:guide>
        <p15:guide id="3" orient="horz" pos="956" userDrawn="1">
          <p15:clr>
            <a:srgbClr val="C35EA4"/>
          </p15:clr>
        </p15:guide>
        <p15:guide id="7" orient="horz" pos="4406" userDrawn="1">
          <p15:clr>
            <a:srgbClr val="C35EA4"/>
          </p15:clr>
        </p15:guide>
        <p15:guide id="9" pos="300" userDrawn="1">
          <p15:clr>
            <a:srgbClr val="C35EA4"/>
          </p15:clr>
        </p15:guide>
        <p15:guide id="11" orient="horz" pos="306" userDrawn="1">
          <p15:clr>
            <a:srgbClr val="C35EA4"/>
          </p15:clr>
        </p15:guide>
        <p15:guide id="12" orient="horz" pos="1231" userDrawn="1">
          <p15:clr>
            <a:srgbClr val="C35EA4"/>
          </p15:clr>
        </p15:guide>
        <p15:guide id="16" orient="horz" pos="1556" userDrawn="1">
          <p15:clr>
            <a:srgbClr val="A4A3A4"/>
          </p15:clr>
        </p15:guide>
        <p15:guide id="17" pos="6204" userDrawn="1">
          <p15:clr>
            <a:srgbClr val="C35EA4"/>
          </p15:clr>
        </p15:guide>
        <p15:guide id="18" pos="1209" userDrawn="1">
          <p15:clr>
            <a:srgbClr val="C35EA4"/>
          </p15:clr>
        </p15:guide>
        <p15:guide id="21" orient="horz" pos="3556" userDrawn="1">
          <p15:clr>
            <a:srgbClr val="C35EA4"/>
          </p15:clr>
        </p15:guide>
        <p15:guide id="22" orient="horz" pos="2437" userDrawn="1">
          <p15:clr>
            <a:srgbClr val="A4A3A4"/>
          </p15:clr>
        </p15:guide>
        <p15:guide id="23" orient="horz" pos="2557" userDrawn="1">
          <p15:clr>
            <a:srgbClr val="A4A3A4"/>
          </p15:clr>
        </p15:guide>
        <p15:guide id="24" orient="horz" pos="3803" userDrawn="1">
          <p15:clr>
            <a:srgbClr val="A4A3A4"/>
          </p15:clr>
        </p15:guide>
        <p15:guide id="25" pos="3695" userDrawn="1">
          <p15:clr>
            <a:srgbClr val="C35EA4"/>
          </p15:clr>
        </p15:guide>
        <p15:guide id="26" pos="1376" userDrawn="1">
          <p15:clr>
            <a:srgbClr val="C35EA4"/>
          </p15:clr>
        </p15:guide>
        <p15:guide id="27" pos="1974" userDrawn="1">
          <p15:clr>
            <a:srgbClr val="C35EA4"/>
          </p15:clr>
        </p15:guide>
        <p15:guide id="28" pos="5415" userDrawn="1">
          <p15:clr>
            <a:srgbClr val="C35EA4"/>
          </p15:clr>
        </p15:guide>
        <p15:guide id="29" pos="2308" userDrawn="1">
          <p15:clr>
            <a:srgbClr val="C35EA4"/>
          </p15:clr>
        </p15:guide>
        <p15:guide id="30" orient="horz" pos="782" userDrawn="1">
          <p15:clr>
            <a:srgbClr val="C35EA4"/>
          </p15:clr>
        </p15:guide>
        <p15:guide id="31" pos="1614" userDrawn="1">
          <p15:clr>
            <a:srgbClr val="C35EA4"/>
          </p15:clr>
        </p15:guide>
      </p15:sldGuideLst>
    </p:ext>
    <p:ext uri="{2D200454-40CA-4A62-9FC3-DE9A4176ACB9}">
      <p15:notes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go="http://customooxmlschemas.google.com/" r:id="rId87" roundtripDataSignature="AMtx7mh82/txnvq3yxkrcwG5f3bwC3k9m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FF"/>
    <a:srgbClr val="F7F7F7"/>
    <a:srgbClr val="17494D"/>
    <a:srgbClr val="4C72B8"/>
    <a:srgbClr val="E9EBED"/>
    <a:srgbClr val="66FF33"/>
    <a:srgbClr val="008000"/>
    <a:srgbClr val="000099"/>
    <a:srgbClr val="0000FF"/>
    <a:srgbClr val="00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0A59446-8F78-4DC5-A605-F528D7DF9056}">
  <a:tblStyle styleId="{60A59446-8F78-4DC5-A605-F528D7DF9056}" styleName="Table_0">
    <a:wholeTbl>
      <a:tcTxStyle b="off" i="off">
        <a:font>
          <a:latin typeface="Samsung Sans"/>
          <a:ea typeface="Samsung Sans"/>
          <a:cs typeface="Samsung Sans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9EFF7"/>
          </a:solidFill>
        </a:fill>
      </a:tcStyle>
    </a:wholeTbl>
    <a:band1H>
      <a:tcTxStyle/>
      <a:tcStyle>
        <a:tcBdr/>
        <a:fill>
          <a:solidFill>
            <a:srgbClr val="D0DEEF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D0DEEF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Samsung Sans"/>
          <a:ea typeface="Samsung Sans"/>
          <a:cs typeface="Samsung Sans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Samsung Sans"/>
          <a:ea typeface="Samsung Sans"/>
          <a:cs typeface="Samsung Sans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Samsung Sans"/>
          <a:ea typeface="Samsung Sans"/>
          <a:cs typeface="Samsung Sans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Samsung Sans"/>
          <a:ea typeface="Samsung Sans"/>
          <a:cs typeface="Samsung Sans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810BAEE6-4FD6-4286-872B-7D5C19BF1B27}" styleName="Table_1">
    <a:wholeTbl>
      <a:tcTxStyle>
        <a:font>
          <a:latin typeface="Samsung Sans"/>
          <a:ea typeface="Samsung Sans"/>
          <a:cs typeface="Samsung Sans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D113A9D2-9D6B-4929-AA2D-F23B5EE8CBE7}" styleName="테마 스타일 2 - 강조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185" autoAdjust="0"/>
    <p:restoredTop sz="86369" autoAdjust="0"/>
  </p:normalViewPr>
  <p:slideViewPr>
    <p:cSldViewPr snapToGrid="0">
      <p:cViewPr>
        <p:scale>
          <a:sx n="75" d="100"/>
          <a:sy n="75" d="100"/>
        </p:scale>
        <p:origin x="701" y="182"/>
      </p:cViewPr>
      <p:guideLst>
        <p:guide orient="horz" pos="4656"/>
        <p:guide orient="horz" pos="956"/>
        <p:guide orient="horz" pos="4406"/>
        <p:guide pos="300"/>
        <p:guide orient="horz" pos="306"/>
        <p:guide orient="horz" pos="1231"/>
        <p:guide orient="horz" pos="1556"/>
        <p:guide pos="6204"/>
        <p:guide pos="1209"/>
        <p:guide orient="horz" pos="3556"/>
        <p:guide orient="horz" pos="2437"/>
        <p:guide orient="horz" pos="2557"/>
        <p:guide orient="horz" pos="3803"/>
        <p:guide pos="3695"/>
        <p:guide pos="1376"/>
        <p:guide pos="1974"/>
        <p:guide pos="5415"/>
        <p:guide pos="2308"/>
        <p:guide orient="horz" pos="782"/>
        <p:guide pos="1614"/>
      </p:guideLst>
    </p:cSldViewPr>
  </p:slideViewPr>
  <p:outlineViewPr>
    <p:cViewPr>
      <p:scale>
        <a:sx n="33" d="100"/>
        <a:sy n="33" d="100"/>
      </p:scale>
      <p:origin x="82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3216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89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notesMaster" Target="notesMasters/notesMaster1.xml"/><Relationship Id="rId88" Type="http://schemas.openxmlformats.org/officeDocument/2006/relationships/presProps" Target="presProps.xml"/><Relationship Id="rId9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87" Type="http://customschemas.google.com/relationships/presentationmetadata" Target="metadata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90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handoutMaster" Target="handoutMasters/handoutMaster1.xml"/><Relationship Id="rId8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9202" cy="512304"/>
          </a:xfrm>
          <a:prstGeom prst="rect">
            <a:avLst/>
          </a:prstGeom>
        </p:spPr>
        <p:txBody>
          <a:bodyPr vert="horz" lIns="94796" tIns="47398" rIns="94796" bIns="47398" rtlCol="0"/>
          <a:lstStyle>
            <a:lvl1pPr algn="l">
              <a:defRPr sz="1200"/>
            </a:lvl1pPr>
          </a:lstStyle>
          <a:p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4023203" y="0"/>
            <a:ext cx="3079202" cy="512304"/>
          </a:xfrm>
          <a:prstGeom prst="rect">
            <a:avLst/>
          </a:prstGeom>
        </p:spPr>
        <p:txBody>
          <a:bodyPr vert="horz" lIns="94796" tIns="47398" rIns="94796" bIns="47398" rtlCol="0"/>
          <a:lstStyle>
            <a:lvl1pPr algn="r">
              <a:defRPr sz="1200"/>
            </a:lvl1pPr>
          </a:lstStyle>
          <a:p>
            <a:fld id="{529BFA07-7AEC-4188-9761-F0EC0046D65B}" type="datetimeFigureOut">
              <a:rPr lang="ko-KR" altLang="en-US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22-07-11</a:t>
            </a:fld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722309"/>
            <a:ext cx="3079202" cy="512304"/>
          </a:xfrm>
          <a:prstGeom prst="rect">
            <a:avLst/>
          </a:prstGeom>
        </p:spPr>
        <p:txBody>
          <a:bodyPr vert="horz" lIns="94796" tIns="47398" rIns="94796" bIns="47398" rtlCol="0" anchor="b"/>
          <a:lstStyle>
            <a:lvl1pPr algn="l">
              <a:defRPr sz="1200"/>
            </a:lvl1pPr>
          </a:lstStyle>
          <a:p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4023203" y="9722309"/>
            <a:ext cx="3079202" cy="512304"/>
          </a:xfrm>
          <a:prstGeom prst="rect">
            <a:avLst/>
          </a:prstGeom>
        </p:spPr>
        <p:txBody>
          <a:bodyPr vert="horz" lIns="94796" tIns="47398" rIns="94796" bIns="47398" rtlCol="0" anchor="b"/>
          <a:lstStyle>
            <a:lvl1pPr algn="r">
              <a:defRPr sz="1200"/>
            </a:lvl1pPr>
          </a:lstStyle>
          <a:p>
            <a:fld id="{41B35870-DA79-408A-B735-52895A068B39}" type="slidenum">
              <a:rPr lang="ko-KR" altLang="en-US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‹#›</a:t>
            </a:fld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5779986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1"/>
            <a:ext cx="3078207" cy="5132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651" tIns="47325" rIns="94651" bIns="473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024201" y="1"/>
            <a:ext cx="3078207" cy="5132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651" tIns="47325" rIns="94651" bIns="47325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166813" y="1279525"/>
            <a:ext cx="4770437" cy="34544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10738" y="4925235"/>
            <a:ext cx="5682588" cy="4029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651" tIns="47325" rIns="94651" bIns="473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9721330"/>
            <a:ext cx="3078207" cy="5132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651" tIns="47325" rIns="94651" bIns="47325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024201" y="9721330"/>
            <a:ext cx="3078207" cy="5132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651" tIns="47325" rIns="94651" bIns="47325" anchor="b" anchorCtr="0">
            <a:noAutofit/>
          </a:bodyPr>
          <a:lstStyle/>
          <a:p>
            <a:pPr algn="r">
              <a:buSzPts val="1200"/>
            </a:pPr>
            <a:fld id="{00000000-1234-1234-1234-123412341234}" type="slidenum">
              <a:rPr lang="en-US" sz="1200" smtClean="0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rPr>
              <a:pPr algn="r">
                <a:buSzPts val="1200"/>
              </a:pPr>
              <a:t>‹#›</a:t>
            </a:fld>
            <a:endParaRPr lang="en-US" sz="1200">
              <a:solidFill>
                <a:schemeClr val="dk1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</p:spTree>
    <p:extLst>
      <p:ext uri="{BB962C8B-B14F-4D97-AF65-F5344CB8AC3E}">
        <p14:creationId xmlns:p14="http://schemas.microsoft.com/office/powerpoint/2010/main" val="974571208"/>
      </p:ext>
    </p:extLst>
  </p:cSld>
  <p:clrMap bg1="lt1" tx1="dk1" bg2="dk2" tx2="lt2" accent1="accent1" accent2="accent2" accent3="accent3" accent4="accent4" accent5="accent5" accent6="accent6" hlink="hlink" folHlink="folHlink"/>
  <p:hf hdr="0" ftr="0" dt="0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jpe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5.jpe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7281C907-306E-4525-8877-D285F2939B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73" y="1751"/>
          <a:ext cx="167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" name="think-cell Slide" r:id="rId5" imgW="694" imgH="693" progId="TCLayout.ActiveDocument.1">
                  <p:embed/>
                </p:oleObj>
              </mc:Choice>
              <mc:Fallback>
                <p:oleObj name="think-cell Slide" r:id="rId5" imgW="694" imgH="693" progId="TCLayout.ActiveDocument.1">
                  <p:embed/>
                  <p:pic>
                    <p:nvPicPr>
                      <p:cNvPr id="3" name="개체 2" hidden="1">
                        <a:extLst>
                          <a:ext uri="{FF2B5EF4-FFF2-40B4-BE49-F238E27FC236}">
                            <a16:creationId xmlns:a16="http://schemas.microsoft.com/office/drawing/2014/main" id="{7281C907-306E-4525-8877-D285F2939B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73" y="1751"/>
                        <a:ext cx="1674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그림 21" descr="Untitled-1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099" r="29625"/>
          <a:stretch>
            <a:fillRect/>
          </a:stretch>
        </p:blipFill>
        <p:spPr>
          <a:xfrm>
            <a:off x="3094910" y="0"/>
            <a:ext cx="7344490" cy="6418232"/>
          </a:xfrm>
          <a:prstGeom prst="rect">
            <a:avLst/>
          </a:prstGeom>
        </p:spPr>
      </p:pic>
      <p:cxnSp>
        <p:nvCxnSpPr>
          <p:cNvPr id="26" name="직선 연결선 25"/>
          <p:cNvCxnSpPr/>
          <p:nvPr userDrawn="1"/>
        </p:nvCxnSpPr>
        <p:spPr>
          <a:xfrm>
            <a:off x="624494" y="3706800"/>
            <a:ext cx="6188799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슬라이드 번호 개체 틀 28"/>
          <p:cNvSpPr>
            <a:spLocks noGrp="1"/>
          </p:cNvSpPr>
          <p:nvPr userDrawn="1">
            <p:ph type="sldNum" sz="quarter" idx="12"/>
            <p:custDataLst>
              <p:tags r:id="rId3"/>
            </p:custDataLst>
          </p:nvPr>
        </p:nvSpPr>
        <p:spPr bwMode="gray">
          <a:xfrm>
            <a:off x="4891615" y="7192984"/>
            <a:ext cx="656171" cy="208239"/>
          </a:xfrm>
          <a:prstGeom prst="rect">
            <a:avLst/>
          </a:prstGeom>
        </p:spPr>
        <p:txBody>
          <a:bodyPr/>
          <a:lstStyle>
            <a:lvl1pPr algn="ctr">
              <a:defRPr sz="948"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624493" y="1276119"/>
            <a:ext cx="6222599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모서리가 둥근 직사각형 10"/>
          <p:cNvSpPr/>
          <p:nvPr userDrawn="1"/>
        </p:nvSpPr>
        <p:spPr>
          <a:xfrm>
            <a:off x="3454236" y="958652"/>
            <a:ext cx="1099478" cy="317467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75" b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강한브랜드</a:t>
            </a:r>
            <a:endParaRPr lang="ko-KR" altLang="en-US" sz="1475" b="0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15" name="모서리가 둥근 직사각형 14"/>
          <p:cNvSpPr/>
          <p:nvPr userDrawn="1"/>
        </p:nvSpPr>
        <p:spPr>
          <a:xfrm>
            <a:off x="4621048" y="958652"/>
            <a:ext cx="1099478" cy="317467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75" b="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디지털대전환</a:t>
            </a:r>
          </a:p>
        </p:txBody>
      </p:sp>
      <p:sp>
        <p:nvSpPr>
          <p:cNvPr id="16" name="모서리가 둥근 직사각형 15"/>
          <p:cNvSpPr/>
          <p:nvPr userDrawn="1"/>
        </p:nvSpPr>
        <p:spPr>
          <a:xfrm>
            <a:off x="5787860" y="958652"/>
            <a:ext cx="1099478" cy="317467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75" b="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사업체질혁신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32686" y="6920614"/>
            <a:ext cx="1960793" cy="3842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97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4.0(OTF)-Light" panose="02020603020101020101" pitchFamily="18" charset="-127"/>
                <a:ea typeface="아리따-돋움4.0(OTF)-Light" panose="02020603020101020101" pitchFamily="18" charset="-127"/>
              </a:rPr>
              <a:t>Winning</a:t>
            </a:r>
            <a:r>
              <a:rPr lang="en-US" altLang="ko-KR" sz="1897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4.0(OTF)-Light" panose="02020603020101020101" pitchFamily="18" charset="-127"/>
                <a:ea typeface="아리따-돋움4.0(OTF)-Light" panose="02020603020101020101" pitchFamily="18" charset="-127"/>
              </a:rPr>
              <a:t> Together</a:t>
            </a:r>
            <a:endParaRPr lang="ko-KR" altLang="en-US" sz="1897" dirty="0">
              <a:solidFill>
                <a:schemeClr val="tx1">
                  <a:lumMod val="65000"/>
                  <a:lumOff val="35000"/>
                </a:schemeClr>
              </a:solidFill>
              <a:latin typeface="아리따-돋움4.0(OTF)-Light" panose="02020603020101020101" pitchFamily="18" charset="-127"/>
              <a:ea typeface="아리따-돋움4.0(OTF)-Light" panose="0202060302010102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493" y="763758"/>
            <a:ext cx="2202880" cy="222894"/>
          </a:xfrm>
          <a:prstGeom prst="rect">
            <a:avLst/>
          </a:prstGeom>
        </p:spPr>
      </p:pic>
      <p:cxnSp>
        <p:nvCxnSpPr>
          <p:cNvPr id="12" name="직선 연결선 11"/>
          <p:cNvCxnSpPr/>
          <p:nvPr userDrawn="1"/>
        </p:nvCxnSpPr>
        <p:spPr>
          <a:xfrm>
            <a:off x="6788621" y="3706800"/>
            <a:ext cx="2807758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98CA58C-FD66-4DF3-A2DA-49F415B93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9581" y="2017113"/>
            <a:ext cx="6852529" cy="7551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94" b="0">
                <a:solidFill>
                  <a:schemeClr val="tx1">
                    <a:lumMod val="95000"/>
                    <a:lumOff val="5000"/>
                  </a:schemeClr>
                </a:solidFill>
                <a:latin typeface="아리따-돋움4.0(OTF)-Bold" panose="02020603020101020101" pitchFamily="18" charset="-127"/>
                <a:ea typeface="아리따-돋움4.0(OTF)-Bold" panose="02020603020101020101" pitchFamily="18" charset="-127"/>
              </a:defRPr>
            </a:lvl1pPr>
            <a:lvl2pPr marL="481797" indent="0">
              <a:buNone/>
              <a:defRPr/>
            </a:lvl2pPr>
          </a:lstStyle>
          <a:p>
            <a:pPr lvl="0"/>
            <a:r>
              <a:rPr lang="ko-KR" altLang="en-US" dirty="0"/>
              <a:t>타이틀</a:t>
            </a:r>
            <a:endParaRPr lang="en-US" altLang="ko-KR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0772D152-9E5C-47EC-9537-BC5968E1C5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6112" y="3914382"/>
            <a:ext cx="2315405" cy="3005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5" b="0">
                <a:solidFill>
                  <a:schemeClr val="tx1">
                    <a:lumMod val="95000"/>
                    <a:lumOff val="5000"/>
                  </a:schemeClr>
                </a:solidFill>
                <a:latin typeface="아리따-돋움4.0(OTF)-SemiBold" panose="02020603020101020101" pitchFamily="18" charset="-127"/>
                <a:ea typeface="아리따-돋움4.0(OTF)-SemiBold" panose="02020603020101020101" pitchFamily="18" charset="-127"/>
              </a:defRPr>
            </a:lvl1pPr>
            <a:lvl2pPr marL="481797" indent="0">
              <a:buNone/>
              <a:defRPr/>
            </a:lvl2pPr>
          </a:lstStyle>
          <a:p>
            <a:pPr lvl="0"/>
            <a:r>
              <a:rPr lang="en-US" altLang="ko-KR" dirty="0"/>
              <a:t>2021.MM.DD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6B333D5E-ECCA-4407-9331-752F385DF5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2576" y="2886717"/>
            <a:ext cx="6639534" cy="4055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8" b="0">
                <a:solidFill>
                  <a:schemeClr val="tx1">
                    <a:lumMod val="95000"/>
                    <a:lumOff val="5000"/>
                  </a:schemeClr>
                </a:solidFill>
                <a:latin typeface="아리따-돋움4.0(OTF)-SemiBold" panose="02020603020101020101" pitchFamily="18" charset="-127"/>
                <a:ea typeface="아리따-돋움4.0(OTF)-SemiBold" panose="02020603020101020101" pitchFamily="18" charset="-127"/>
              </a:defRPr>
            </a:lvl1pPr>
            <a:lvl2pPr marL="481797" indent="0">
              <a:buNone/>
              <a:defRPr/>
            </a:lvl2pPr>
          </a:lstStyle>
          <a:p>
            <a:pPr lvl="0"/>
            <a:r>
              <a:rPr lang="ko-KR" altLang="en-US" dirty="0"/>
              <a:t>소제목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700276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화면설계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43962915-D85B-437C-989D-E8927630AB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A2C35-B01B-4692-A311-0CA971B40953}" type="slidenum">
              <a:rPr lang="ko-KR" altLang="en-US" smtClean="0"/>
              <a:pPr/>
              <a:t>‹#›</a:t>
            </a:fld>
            <a:endParaRPr lang="ko-KR" altLang="en-US"/>
          </a:p>
        </p:txBody>
      </p:sp>
      <p:graphicFrame>
        <p:nvGraphicFramePr>
          <p:cNvPr id="15" name="표 14">
            <a:extLst>
              <a:ext uri="{FF2B5EF4-FFF2-40B4-BE49-F238E27FC236}">
                <a16:creationId xmlns:a16="http://schemas.microsoft.com/office/drawing/2014/main" id="{66558DA1-8FC7-4091-8C72-62E4CCD6F13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41035060"/>
              </p:ext>
            </p:extLst>
          </p:nvPr>
        </p:nvGraphicFramePr>
        <p:xfrm>
          <a:off x="103535" y="150494"/>
          <a:ext cx="10169194" cy="408782"/>
        </p:xfrm>
        <a:graphic>
          <a:graphicData uri="http://schemas.openxmlformats.org/drawingml/2006/table">
            <a:tbl>
              <a:tblPr>
                <a:tableStyleId>{60A59446-8F78-4DC5-A605-F528D7DF9056}</a:tableStyleId>
              </a:tblPr>
              <a:tblGrid>
                <a:gridCol w="1905557">
                  <a:extLst>
                    <a:ext uri="{9D8B030D-6E8A-4147-A177-3AD203B41FA5}">
                      <a16:colId xmlns:a16="http://schemas.microsoft.com/office/drawing/2014/main" val="2078305141"/>
                    </a:ext>
                  </a:extLst>
                </a:gridCol>
                <a:gridCol w="5627276">
                  <a:extLst>
                    <a:ext uri="{9D8B030D-6E8A-4147-A177-3AD203B41FA5}">
                      <a16:colId xmlns:a16="http://schemas.microsoft.com/office/drawing/2014/main" val="298741396"/>
                    </a:ext>
                  </a:extLst>
                </a:gridCol>
                <a:gridCol w="2636361">
                  <a:extLst>
                    <a:ext uri="{9D8B030D-6E8A-4147-A177-3AD203B41FA5}">
                      <a16:colId xmlns:a16="http://schemas.microsoft.com/office/drawing/2014/main" val="622586199"/>
                    </a:ext>
                  </a:extLst>
                </a:gridCol>
              </a:tblGrid>
              <a:tr h="408782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L="96364" marR="96364" marT="50398" marB="50398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L="96364" marR="96364" marT="50398" marB="50398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L="96364" marR="96364" marT="50398" marB="50398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9296262"/>
                  </a:ext>
                </a:extLst>
              </a:tr>
            </a:tbl>
          </a:graphicData>
        </a:graphic>
      </p:graphicFrame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72809B4-8910-441D-B7EF-BFC59F0D9FE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4193497"/>
              </p:ext>
            </p:extLst>
          </p:nvPr>
        </p:nvGraphicFramePr>
        <p:xfrm>
          <a:off x="7636368" y="559276"/>
          <a:ext cx="2636361" cy="6429857"/>
        </p:xfrm>
        <a:graphic>
          <a:graphicData uri="http://schemas.openxmlformats.org/drawingml/2006/table">
            <a:tbl>
              <a:tblPr>
                <a:tableStyleId>{60A59446-8F78-4DC5-A605-F528D7DF9056}</a:tableStyleId>
              </a:tblPr>
              <a:tblGrid>
                <a:gridCol w="271879">
                  <a:extLst>
                    <a:ext uri="{9D8B030D-6E8A-4147-A177-3AD203B41FA5}">
                      <a16:colId xmlns:a16="http://schemas.microsoft.com/office/drawing/2014/main" val="1361842895"/>
                    </a:ext>
                  </a:extLst>
                </a:gridCol>
                <a:gridCol w="2364482">
                  <a:extLst>
                    <a:ext uri="{9D8B030D-6E8A-4147-A177-3AD203B41FA5}">
                      <a16:colId xmlns:a16="http://schemas.microsoft.com/office/drawing/2014/main" val="1727351317"/>
                    </a:ext>
                  </a:extLst>
                </a:gridCol>
              </a:tblGrid>
              <a:tr h="6429857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L="96364" marR="96364" marT="50398" marB="50398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L="96364" marR="96364" marT="50398" marB="50398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9281812"/>
                  </a:ext>
                </a:extLst>
              </a:tr>
            </a:tbl>
          </a:graphicData>
        </a:graphic>
      </p:graphicFrame>
      <p:sp>
        <p:nvSpPr>
          <p:cNvPr id="18" name="텍스트 개체 틀 17">
            <a:extLst>
              <a:ext uri="{FF2B5EF4-FFF2-40B4-BE49-F238E27FC236}">
                <a16:creationId xmlns:a16="http://schemas.microsoft.com/office/drawing/2014/main" id="{4C5EC9BB-4921-4D03-AA2B-4B5C298068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6671" y="188642"/>
            <a:ext cx="1787875" cy="332486"/>
          </a:xfrm>
        </p:spPr>
        <p:txBody>
          <a:bodyPr>
            <a:noAutofit/>
          </a:bodyPr>
          <a:lstStyle>
            <a:lvl1pPr marL="0" indent="0" algn="ctr">
              <a:buNone/>
              <a:defRPr sz="1265"/>
            </a:lvl1pPr>
          </a:lstStyle>
          <a:p>
            <a:pPr lvl="0"/>
            <a:endParaRPr lang="ko-KR" altLang="en-US" dirty="0"/>
          </a:p>
        </p:txBody>
      </p:sp>
      <p:sp>
        <p:nvSpPr>
          <p:cNvPr id="19" name="텍스트 개체 틀 17">
            <a:extLst>
              <a:ext uri="{FF2B5EF4-FFF2-40B4-BE49-F238E27FC236}">
                <a16:creationId xmlns:a16="http://schemas.microsoft.com/office/drawing/2014/main" id="{2F7B7FD6-486C-4D6E-8489-C9353112FF9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091924" y="188642"/>
            <a:ext cx="5544445" cy="332486"/>
          </a:xfrm>
        </p:spPr>
        <p:txBody>
          <a:bodyPr>
            <a:noAutofit/>
          </a:bodyPr>
          <a:lstStyle>
            <a:lvl1pPr marL="0" indent="0" algn="ctr">
              <a:buNone/>
              <a:defRPr sz="1265"/>
            </a:lvl1pPr>
          </a:lstStyle>
          <a:p>
            <a:pPr lvl="0"/>
            <a:endParaRPr lang="ko-KR" altLang="en-U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38855AC-766D-49BA-BA54-E43D32ABE704}"/>
              </a:ext>
            </a:extLst>
          </p:cNvPr>
          <p:cNvSpPr txBox="1"/>
          <p:nvPr userDrawn="1"/>
        </p:nvSpPr>
        <p:spPr>
          <a:xfrm>
            <a:off x="7636368" y="188641"/>
            <a:ext cx="2636361" cy="2870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65" dirty="0"/>
              <a:t>설명</a:t>
            </a:r>
          </a:p>
        </p:txBody>
      </p:sp>
      <p:sp>
        <p:nvSpPr>
          <p:cNvPr id="25" name="텍스트 개체 틀 17">
            <a:extLst>
              <a:ext uri="{FF2B5EF4-FFF2-40B4-BE49-F238E27FC236}">
                <a16:creationId xmlns:a16="http://schemas.microsoft.com/office/drawing/2014/main" id="{F630EB99-0175-46C1-9E97-8E5937BFF7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901463" y="597425"/>
            <a:ext cx="2371266" cy="6325146"/>
          </a:xfrm>
        </p:spPr>
        <p:txBody>
          <a:bodyPr lIns="36000" tIns="46800" rIns="36000" bIns="46800">
            <a:noAutofit/>
          </a:bodyPr>
          <a:lstStyle>
            <a:lvl1pPr marL="0" indent="0" algn="l">
              <a:lnSpc>
                <a:spcPct val="110000"/>
              </a:lnSpc>
              <a:spcBef>
                <a:spcPts val="1054"/>
              </a:spcBef>
              <a:buNone/>
              <a:defRPr sz="843"/>
            </a:lvl1pPr>
          </a:lstStyle>
          <a:p>
            <a:pPr lvl="0"/>
            <a:endParaRPr lang="ko-KR" altLang="en-US" dirty="0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1DC4B580-4E10-41BF-93B9-55EE578F0CDF}"/>
              </a:ext>
            </a:extLst>
          </p:cNvPr>
          <p:cNvSpPr/>
          <p:nvPr userDrawn="1"/>
        </p:nvSpPr>
        <p:spPr>
          <a:xfrm>
            <a:off x="119307" y="672952"/>
            <a:ext cx="7387883" cy="6325146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sys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84"/>
          </a:p>
        </p:txBody>
      </p:sp>
    </p:spTree>
    <p:extLst>
      <p:ext uri="{BB962C8B-B14F-4D97-AF65-F5344CB8AC3E}">
        <p14:creationId xmlns:p14="http://schemas.microsoft.com/office/powerpoint/2010/main" val="30687262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288" userDrawn="1">
          <p15:clr>
            <a:srgbClr val="FBAE40"/>
          </p15:clr>
        </p15:guide>
        <p15:guide id="3" pos="6276" userDrawn="1">
          <p15:clr>
            <a:srgbClr val="FBAE40"/>
          </p15:clr>
        </p15:guide>
        <p15:guide id="4" orient="horz" pos="463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id="{620A1BB5-FC55-4887-84E9-0D8D005454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439400" cy="7559675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196BD2D7-24A2-4D5F-9458-15261C3B62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63" b="-10453"/>
          <a:stretch/>
        </p:blipFill>
        <p:spPr>
          <a:xfrm>
            <a:off x="8982437" y="7146165"/>
            <a:ext cx="1216710" cy="343134"/>
          </a:xfrm>
          <a:prstGeom prst="rect">
            <a:avLst/>
          </a:prstGeom>
        </p:spPr>
      </p:pic>
      <p:sp>
        <p:nvSpPr>
          <p:cNvPr id="9" name="제목 1">
            <a:extLst>
              <a:ext uri="{FF2B5EF4-FFF2-40B4-BE49-F238E27FC236}">
                <a16:creationId xmlns:a16="http://schemas.microsoft.com/office/drawing/2014/main" id="{5EE97995-9840-4527-8B03-299334F436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818" y="1237197"/>
            <a:ext cx="9627279" cy="2631887"/>
          </a:xfrm>
        </p:spPr>
        <p:txBody>
          <a:bodyPr anchor="b">
            <a:normAutofit/>
          </a:bodyPr>
          <a:lstStyle>
            <a:lvl1pPr algn="ctr">
              <a:defRPr sz="5691"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0" name="부제목 2">
            <a:extLst>
              <a:ext uri="{FF2B5EF4-FFF2-40B4-BE49-F238E27FC236}">
                <a16:creationId xmlns:a16="http://schemas.microsoft.com/office/drawing/2014/main" id="{7975B454-1485-4B06-A67A-1988CFBA16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4925" y="3970580"/>
            <a:ext cx="7829550" cy="1825171"/>
          </a:xfrm>
        </p:spPr>
        <p:txBody>
          <a:bodyPr/>
          <a:lstStyle>
            <a:lvl1pPr marL="0" indent="0" algn="ctr">
              <a:buNone/>
              <a:defRPr sz="2529"/>
            </a:lvl1pPr>
            <a:lvl2pPr marL="481797" indent="0" algn="ctr">
              <a:buNone/>
              <a:defRPr sz="2108"/>
            </a:lvl2pPr>
            <a:lvl3pPr marL="963595" indent="0" algn="ctr">
              <a:buNone/>
              <a:defRPr sz="1897"/>
            </a:lvl3pPr>
            <a:lvl4pPr marL="1445392" indent="0" algn="ctr">
              <a:buNone/>
              <a:defRPr sz="1686"/>
            </a:lvl4pPr>
            <a:lvl5pPr marL="1927189" indent="0" algn="ctr">
              <a:buNone/>
              <a:defRPr sz="1686"/>
            </a:lvl5pPr>
            <a:lvl6pPr marL="2408987" indent="0" algn="ctr">
              <a:buNone/>
              <a:defRPr sz="1686"/>
            </a:lvl6pPr>
            <a:lvl7pPr marL="2890784" indent="0" algn="ctr">
              <a:buNone/>
              <a:defRPr sz="1686"/>
            </a:lvl7pPr>
            <a:lvl8pPr marL="3372582" indent="0" algn="ctr">
              <a:buNone/>
              <a:defRPr sz="1686"/>
            </a:lvl8pPr>
            <a:lvl9pPr marL="3854379" indent="0" algn="ctr">
              <a:buNone/>
              <a:defRPr sz="1686"/>
            </a:lvl9pPr>
          </a:lstStyle>
          <a:p>
            <a:r>
              <a:rPr lang="ko-KR" altLang="en-US" dirty="0"/>
              <a:t>클릭하여 마스터 부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9818995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청색배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63" b="-10453"/>
          <a:stretch/>
        </p:blipFill>
        <p:spPr>
          <a:xfrm>
            <a:off x="8742184" y="7075790"/>
            <a:ext cx="1216710" cy="343134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439400" cy="7559675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237" t="-1" b="-17834"/>
          <a:stretch/>
        </p:blipFill>
        <p:spPr>
          <a:xfrm>
            <a:off x="9017163" y="7123235"/>
            <a:ext cx="1181984" cy="366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8915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288" userDrawn="1">
          <p15:clr>
            <a:srgbClr val="FBAE40"/>
          </p15:clr>
        </p15:guide>
        <p15:guide id="3" pos="6276" userDrawn="1">
          <p15:clr>
            <a:srgbClr val="FBAE40"/>
          </p15:clr>
        </p15:guide>
        <p15:guide id="4" orient="horz" pos="463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제목 및 내용" preserve="1" userDrawn="1">
  <p:cSld name="회색배경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63" b="-10453"/>
          <a:stretch/>
        </p:blipFill>
        <p:spPr>
          <a:xfrm>
            <a:off x="8742184" y="7075790"/>
            <a:ext cx="1216710" cy="343134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439400" cy="7559675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63" b="-10453"/>
          <a:stretch/>
        </p:blipFill>
        <p:spPr>
          <a:xfrm>
            <a:off x="8982437" y="7146165"/>
            <a:ext cx="1216710" cy="343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7404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28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제목 및 내용" preserve="1" userDrawn="1">
  <p:cSld name="붉은배경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63" b="-10453"/>
          <a:stretch/>
        </p:blipFill>
        <p:spPr>
          <a:xfrm>
            <a:off x="8742184" y="7075790"/>
            <a:ext cx="1216710" cy="343134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439400" cy="7559675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A2E5FFD3-A205-4D57-91AE-20A4728A69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237" t="-1" b="-17834"/>
          <a:stretch/>
        </p:blipFill>
        <p:spPr>
          <a:xfrm>
            <a:off x="9017163" y="7123235"/>
            <a:ext cx="1181984" cy="366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5571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28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75F4C38-F507-4DE3-BF3A-7462AC5EDD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04925" y="1237197"/>
            <a:ext cx="7829550" cy="2631887"/>
          </a:xfrm>
        </p:spPr>
        <p:txBody>
          <a:bodyPr anchor="b"/>
          <a:lstStyle>
            <a:lvl1pPr algn="ctr">
              <a:defRPr sz="6323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F5AEDEE6-4426-4CAA-B57C-20B3455463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4925" y="3970580"/>
            <a:ext cx="7829550" cy="1825171"/>
          </a:xfrm>
        </p:spPr>
        <p:txBody>
          <a:bodyPr/>
          <a:lstStyle>
            <a:lvl1pPr marL="0" indent="0" algn="ctr">
              <a:buNone/>
              <a:defRPr sz="2529"/>
            </a:lvl1pPr>
            <a:lvl2pPr marL="481797" indent="0" algn="ctr">
              <a:buNone/>
              <a:defRPr sz="2108"/>
            </a:lvl2pPr>
            <a:lvl3pPr marL="963595" indent="0" algn="ctr">
              <a:buNone/>
              <a:defRPr sz="1897"/>
            </a:lvl3pPr>
            <a:lvl4pPr marL="1445392" indent="0" algn="ctr">
              <a:buNone/>
              <a:defRPr sz="1686"/>
            </a:lvl4pPr>
            <a:lvl5pPr marL="1927189" indent="0" algn="ctr">
              <a:buNone/>
              <a:defRPr sz="1686"/>
            </a:lvl5pPr>
            <a:lvl6pPr marL="2408987" indent="0" algn="ctr">
              <a:buNone/>
              <a:defRPr sz="1686"/>
            </a:lvl6pPr>
            <a:lvl7pPr marL="2890784" indent="0" algn="ctr">
              <a:buNone/>
              <a:defRPr sz="1686"/>
            </a:lvl7pPr>
            <a:lvl8pPr marL="3372582" indent="0" algn="ctr">
              <a:buNone/>
              <a:defRPr sz="1686"/>
            </a:lvl8pPr>
            <a:lvl9pPr marL="3854379" indent="0" algn="ctr">
              <a:buNone/>
              <a:defRPr sz="1686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F321E92-4029-4C50-8586-729EBC6BE2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48DAF69-6BB6-40BD-87D5-05EE9A0A55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8D9D693-1546-469F-A73F-B36B33EA42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455058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96BB558-759D-4771-9770-BD1E02338D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9157CA70-DF8E-40F4-A03E-D68B89EAAC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1549D4FF-37DF-460C-8E59-5BC994415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4739168-91CD-4F9E-B105-15856262A8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5E230A9-D677-4CF2-A745-5F7D4DB0F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80690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4FECEA9-9D19-4D21-9D0D-BACCF63006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690" y="1884670"/>
            <a:ext cx="9003983" cy="3144614"/>
          </a:xfrm>
        </p:spPr>
        <p:txBody>
          <a:bodyPr anchor="b"/>
          <a:lstStyle>
            <a:lvl1pPr>
              <a:defRPr sz="6323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74D12B6-53B0-4679-885C-F3C1232F4B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2690" y="5059034"/>
            <a:ext cx="9003983" cy="1653678"/>
          </a:xfrm>
        </p:spPr>
        <p:txBody>
          <a:bodyPr/>
          <a:lstStyle>
            <a:lvl1pPr marL="0" indent="0">
              <a:buNone/>
              <a:defRPr sz="2529">
                <a:solidFill>
                  <a:schemeClr val="tx1">
                    <a:tint val="75000"/>
                  </a:schemeClr>
                </a:solidFill>
              </a:defRPr>
            </a:lvl1pPr>
            <a:lvl2pPr marL="481797" indent="0">
              <a:buNone/>
              <a:defRPr sz="2108">
                <a:solidFill>
                  <a:schemeClr val="tx1">
                    <a:tint val="75000"/>
                  </a:schemeClr>
                </a:solidFill>
              </a:defRPr>
            </a:lvl2pPr>
            <a:lvl3pPr marL="963595" indent="0">
              <a:buNone/>
              <a:defRPr sz="1897">
                <a:solidFill>
                  <a:schemeClr val="tx1">
                    <a:tint val="75000"/>
                  </a:schemeClr>
                </a:solidFill>
              </a:defRPr>
            </a:lvl3pPr>
            <a:lvl4pPr marL="1445392" indent="0">
              <a:buNone/>
              <a:defRPr sz="1686">
                <a:solidFill>
                  <a:schemeClr val="tx1">
                    <a:tint val="75000"/>
                  </a:schemeClr>
                </a:solidFill>
              </a:defRPr>
            </a:lvl4pPr>
            <a:lvl5pPr marL="1927189" indent="0">
              <a:buNone/>
              <a:defRPr sz="1686">
                <a:solidFill>
                  <a:schemeClr val="tx1">
                    <a:tint val="75000"/>
                  </a:schemeClr>
                </a:solidFill>
              </a:defRPr>
            </a:lvl5pPr>
            <a:lvl6pPr marL="2408987" indent="0">
              <a:buNone/>
              <a:defRPr sz="1686">
                <a:solidFill>
                  <a:schemeClr val="tx1">
                    <a:tint val="75000"/>
                  </a:schemeClr>
                </a:solidFill>
              </a:defRPr>
            </a:lvl6pPr>
            <a:lvl7pPr marL="2890784" indent="0">
              <a:buNone/>
              <a:defRPr sz="1686">
                <a:solidFill>
                  <a:schemeClr val="tx1">
                    <a:tint val="75000"/>
                  </a:schemeClr>
                </a:solidFill>
              </a:defRPr>
            </a:lvl7pPr>
            <a:lvl8pPr marL="3372582" indent="0">
              <a:buNone/>
              <a:defRPr sz="1686">
                <a:solidFill>
                  <a:schemeClr val="tx1">
                    <a:tint val="75000"/>
                  </a:schemeClr>
                </a:solidFill>
              </a:defRPr>
            </a:lvl8pPr>
            <a:lvl9pPr marL="3854379" indent="0">
              <a:buNone/>
              <a:defRPr sz="168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FCEA9F1-0322-49A8-948E-3768AEB95F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E0B15FF-8369-47A1-B791-B6DF6CA0B1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BC3C43D3-8BEE-4FFF-AFE9-A73AF8CD94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90254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F647BED-8817-4ED8-BE49-D0AAD6D9B5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138B8CF0-1A8D-460F-94B9-CCC624AFFA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7709" y="2012414"/>
            <a:ext cx="4421688" cy="4796544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035BD56B-E7BA-4556-82EB-F88F6B9044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00003" y="2012414"/>
            <a:ext cx="4421689" cy="4796544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89BB835-E923-4781-91A2-3C0964B123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65F354D1-42F2-4DEB-B7EB-4506545B51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1C7C8DC9-84B1-46FA-B1FB-0806D2DC42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946082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88A1855-6C8B-470A-B056-F113C8C75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382" y="402483"/>
            <a:ext cx="9003983" cy="1461188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4DA8CED-5F56-4B02-BE08-C8E59630E5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382" y="1853171"/>
            <a:ext cx="4416669" cy="908210"/>
          </a:xfrm>
        </p:spPr>
        <p:txBody>
          <a:bodyPr anchor="b"/>
          <a:lstStyle>
            <a:lvl1pPr marL="0" indent="0">
              <a:buNone/>
              <a:defRPr sz="2529" b="1"/>
            </a:lvl1pPr>
            <a:lvl2pPr marL="481797" indent="0">
              <a:buNone/>
              <a:defRPr sz="2108" b="1"/>
            </a:lvl2pPr>
            <a:lvl3pPr marL="963595" indent="0">
              <a:buNone/>
              <a:defRPr sz="1897" b="1"/>
            </a:lvl3pPr>
            <a:lvl4pPr marL="1445392" indent="0">
              <a:buNone/>
              <a:defRPr sz="1686" b="1"/>
            </a:lvl4pPr>
            <a:lvl5pPr marL="1927189" indent="0">
              <a:buNone/>
              <a:defRPr sz="1686" b="1"/>
            </a:lvl5pPr>
            <a:lvl6pPr marL="2408987" indent="0">
              <a:buNone/>
              <a:defRPr sz="1686" b="1"/>
            </a:lvl6pPr>
            <a:lvl7pPr marL="2890784" indent="0">
              <a:buNone/>
              <a:defRPr sz="1686" b="1"/>
            </a:lvl7pPr>
            <a:lvl8pPr marL="3372582" indent="0">
              <a:buNone/>
              <a:defRPr sz="1686" b="1"/>
            </a:lvl8pPr>
            <a:lvl9pPr marL="3854379" indent="0">
              <a:buNone/>
              <a:defRPr sz="1686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577D1880-C200-4FA0-968A-2FCFB737DB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382" y="2761381"/>
            <a:ext cx="4416669" cy="4061576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47AAA4C3-51CD-4F03-AEEE-7C11E0D368D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284948" y="1853171"/>
            <a:ext cx="4438417" cy="908210"/>
          </a:xfrm>
        </p:spPr>
        <p:txBody>
          <a:bodyPr anchor="b"/>
          <a:lstStyle>
            <a:lvl1pPr marL="0" indent="0">
              <a:buNone/>
              <a:defRPr sz="2529" b="1"/>
            </a:lvl1pPr>
            <a:lvl2pPr marL="481797" indent="0">
              <a:buNone/>
              <a:defRPr sz="2108" b="1"/>
            </a:lvl2pPr>
            <a:lvl3pPr marL="963595" indent="0">
              <a:buNone/>
              <a:defRPr sz="1897" b="1"/>
            </a:lvl3pPr>
            <a:lvl4pPr marL="1445392" indent="0">
              <a:buNone/>
              <a:defRPr sz="1686" b="1"/>
            </a:lvl4pPr>
            <a:lvl5pPr marL="1927189" indent="0">
              <a:buNone/>
              <a:defRPr sz="1686" b="1"/>
            </a:lvl5pPr>
            <a:lvl6pPr marL="2408987" indent="0">
              <a:buNone/>
              <a:defRPr sz="1686" b="1"/>
            </a:lvl6pPr>
            <a:lvl7pPr marL="2890784" indent="0">
              <a:buNone/>
              <a:defRPr sz="1686" b="1"/>
            </a:lvl7pPr>
            <a:lvl8pPr marL="3372582" indent="0">
              <a:buNone/>
              <a:defRPr sz="1686" b="1"/>
            </a:lvl8pPr>
            <a:lvl9pPr marL="3854379" indent="0">
              <a:buNone/>
              <a:defRPr sz="1686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9FD34DF0-3259-4091-84B3-2AA5CE23EE4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284948" y="2761381"/>
            <a:ext cx="4438417" cy="4061576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36F9E149-607C-4730-9044-2827270C29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7A789058-7CAF-4578-A51B-0C90BAC10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3BC8697C-1948-44A8-883E-D65E4C0385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449835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본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0164CF60-3A43-43FB-BDD6-75FE018A8A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73" y="1751"/>
          <a:ext cx="167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0" name="think-cell Slide" r:id="rId5" imgW="694" imgH="693" progId="TCLayout.ActiveDocument.1">
                  <p:embed/>
                </p:oleObj>
              </mc:Choice>
              <mc:Fallback>
                <p:oleObj name="think-cell Slide" r:id="rId5" imgW="694" imgH="693" progId="TCLayout.ActiveDocument.1">
                  <p:embed/>
                  <p:pic>
                    <p:nvPicPr>
                      <p:cNvPr id="2" name="개체 1" hidden="1">
                        <a:extLst>
                          <a:ext uri="{FF2B5EF4-FFF2-40B4-BE49-F238E27FC236}">
                            <a16:creationId xmlns:a16="http://schemas.microsoft.com/office/drawing/2014/main" id="{0164CF60-3A43-43FB-BDD6-75FE018A8A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73" y="1751"/>
                        <a:ext cx="1674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891615" y="7192984"/>
            <a:ext cx="656171" cy="208239"/>
          </a:xfrm>
          <a:prstGeom prst="rect">
            <a:avLst/>
          </a:prstGeom>
        </p:spPr>
        <p:txBody>
          <a:bodyPr/>
          <a:lstStyle>
            <a:lvl1pPr algn="ctr">
              <a:defRPr sz="1265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4.0(TTF)-Medium" panose="02020603020101020101" pitchFamily="18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Box 15"/>
          <p:cNvSpPr txBox="1"/>
          <p:nvPr userDrawn="1"/>
        </p:nvSpPr>
        <p:spPr bwMode="gray">
          <a:xfrm>
            <a:off x="110663" y="7192983"/>
            <a:ext cx="1561646" cy="3193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9pPr>
          </a:lstStyle>
          <a:p>
            <a:r>
              <a:rPr lang="en-US" altLang="ko-KR" sz="1475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4.0(OTF)-Light" panose="02020603020101020101" pitchFamily="18" charset="-127"/>
                <a:ea typeface="아리따-돋움4.0(OTF)-Light" panose="02020603020101020101" pitchFamily="18" charset="-127"/>
              </a:rPr>
              <a:t>Winning Together</a:t>
            </a:r>
            <a:endParaRPr lang="ko-KR" altLang="en-US" sz="1475" dirty="0">
              <a:solidFill>
                <a:schemeClr val="tx1">
                  <a:lumMod val="65000"/>
                  <a:lumOff val="35000"/>
                </a:schemeClr>
              </a:solidFill>
              <a:latin typeface="아리따-돋움4.0(OTF)-Light" panose="02020603020101020101" pitchFamily="18" charset="-127"/>
              <a:ea typeface="아리따-돋움4.0(OTF)-Light" panose="02020603020101020101" pitchFamily="18" charset="-127"/>
            </a:endParaRPr>
          </a:p>
        </p:txBody>
      </p: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11267" y="131709"/>
            <a:ext cx="7360879" cy="463731"/>
          </a:xfrm>
          <a:prstGeom prst="rect">
            <a:avLst/>
          </a:prstGeom>
        </p:spPr>
        <p:txBody>
          <a:bodyPr anchor="ctr"/>
          <a:lstStyle>
            <a:lvl1pPr algn="l">
              <a:defRPr lang="ko-KR" altLang="en-US" sz="2000" kern="1200" spc="-158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아리따-돋움4.0(OTF)-SemiBold" panose="02020603020101020101" pitchFamily="18" charset="-127"/>
                <a:ea typeface="아리따-돋움4.0(OTF)-SemiBold" panose="02020603020101020101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63595" rtl="0" eaLnBrk="1" latinLnBrk="1" hangingPunct="1">
              <a:defRPr/>
            </a:pPr>
            <a:endParaRPr lang="ko-KR" altLang="en-US" dirty="0"/>
          </a:p>
        </p:txBody>
      </p:sp>
      <p:cxnSp>
        <p:nvCxnSpPr>
          <p:cNvPr id="25" name="직선 연결선 24"/>
          <p:cNvCxnSpPr/>
          <p:nvPr userDrawn="1"/>
        </p:nvCxnSpPr>
        <p:spPr>
          <a:xfrm>
            <a:off x="249275" y="0"/>
            <a:ext cx="9940852" cy="0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제목 18"/>
          <p:cNvSpPr txBox="1">
            <a:spLocks/>
          </p:cNvSpPr>
          <p:nvPr userDrawn="1"/>
        </p:nvSpPr>
        <p:spPr>
          <a:xfrm>
            <a:off x="211267" y="131709"/>
            <a:ext cx="7360879" cy="463731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/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endParaRPr lang="ko-KR" altLang="en-US" sz="2108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4.0(TTF)-Bold" panose="02020603020101020101" pitchFamily="18" charset="-127"/>
            </a:endParaRPr>
          </a:p>
        </p:txBody>
      </p:sp>
      <p:sp>
        <p:nvSpPr>
          <p:cNvPr id="27" name="모서리가 둥근 직사각형 26"/>
          <p:cNvSpPr/>
          <p:nvPr userDrawn="1"/>
        </p:nvSpPr>
        <p:spPr>
          <a:xfrm>
            <a:off x="7650329" y="-3309"/>
            <a:ext cx="796708" cy="277783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54" b="0" spc="-53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아리따-돋움4.0(OTF)-SemiBold" panose="02020603020101020101" pitchFamily="18" charset="-127"/>
                <a:ea typeface="아리따-돋움4.0(OTF)-SemiBold" panose="02020603020101020101" pitchFamily="18" charset="-127"/>
              </a:rPr>
              <a:t>강한브랜드</a:t>
            </a:r>
            <a:endParaRPr lang="ko-KR" altLang="en-US" sz="1054" b="0" spc="-53" baseline="0" dirty="0">
              <a:solidFill>
                <a:schemeClr val="tx1">
                  <a:lumMod val="65000"/>
                  <a:lumOff val="35000"/>
                </a:schemeClr>
              </a:solidFill>
              <a:latin typeface="아리따-돋움4.0(OTF)-SemiBold" panose="02020603020101020101" pitchFamily="18" charset="-127"/>
              <a:ea typeface="아리따-돋움4.0(OTF)-SemiBold" panose="02020603020101020101" pitchFamily="18" charset="-127"/>
            </a:endParaRPr>
          </a:p>
        </p:txBody>
      </p:sp>
      <p:sp>
        <p:nvSpPr>
          <p:cNvPr id="28" name="모서리가 둥근 직사각형 27"/>
          <p:cNvSpPr/>
          <p:nvPr userDrawn="1"/>
        </p:nvSpPr>
        <p:spPr>
          <a:xfrm>
            <a:off x="8519664" y="-3309"/>
            <a:ext cx="796708" cy="277783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54" b="0" spc="-53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4.0(OTF)-SemiBold" panose="02020603020101020101" pitchFamily="18" charset="-127"/>
                <a:ea typeface="아리따-돋움4.0(OTF)-SemiBold" panose="02020603020101020101" pitchFamily="18" charset="-127"/>
              </a:rPr>
              <a:t>디지털대전환</a:t>
            </a:r>
          </a:p>
        </p:txBody>
      </p:sp>
      <p:sp>
        <p:nvSpPr>
          <p:cNvPr id="29" name="모서리가 둥근 직사각형 28"/>
          <p:cNvSpPr/>
          <p:nvPr userDrawn="1"/>
        </p:nvSpPr>
        <p:spPr>
          <a:xfrm>
            <a:off x="9389000" y="-3309"/>
            <a:ext cx="796708" cy="277783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54" b="0" spc="-53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4.0(OTF)-SemiBold" panose="02020603020101020101" pitchFamily="18" charset="-127"/>
                <a:ea typeface="아리따-돋움4.0(OTF)-SemiBold" panose="02020603020101020101" pitchFamily="18" charset="-127"/>
              </a:rPr>
              <a:t>사업체질혁신</a:t>
            </a:r>
          </a:p>
        </p:txBody>
      </p:sp>
      <p:cxnSp>
        <p:nvCxnSpPr>
          <p:cNvPr id="31" name="직선 연결선 30"/>
          <p:cNvCxnSpPr/>
          <p:nvPr userDrawn="1"/>
        </p:nvCxnSpPr>
        <p:spPr>
          <a:xfrm>
            <a:off x="211267" y="651437"/>
            <a:ext cx="10016867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직선 연결선 31"/>
          <p:cNvCxnSpPr/>
          <p:nvPr userDrawn="1"/>
        </p:nvCxnSpPr>
        <p:spPr>
          <a:xfrm>
            <a:off x="210796" y="7192191"/>
            <a:ext cx="10017809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그림 3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2349" y="7362617"/>
            <a:ext cx="1365785" cy="138194"/>
          </a:xfrm>
          <a:prstGeom prst="rect">
            <a:avLst/>
          </a:prstGeom>
        </p:spPr>
      </p:pic>
      <p:sp>
        <p:nvSpPr>
          <p:cNvPr id="14" name="내용 개체 틀 18">
            <a:extLst>
              <a:ext uri="{FF2B5EF4-FFF2-40B4-BE49-F238E27FC236}">
                <a16:creationId xmlns:a16="http://schemas.microsoft.com/office/drawing/2014/main" id="{28BC279B-99E2-4F38-92D2-3F8050BD22E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25375" y="725644"/>
            <a:ext cx="9792813" cy="784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eaLnBrk="1" latinLnBrk="0" hangingPunct="1">
              <a:lnSpc>
                <a:spcPct val="110000"/>
              </a:lnSpc>
              <a:buFontTx/>
              <a:buNone/>
              <a:defRPr kumimoji="1" lang="ko-KR" altLang="en-US" sz="1800" b="0" strike="noStrike" spc="-53" baseline="0" dirty="0">
                <a:solidFill>
                  <a:schemeClr val="tx1"/>
                </a:solidFill>
                <a:latin typeface="아리따-돋움4.0(OTF)-SemiBold" panose="02020603020101020101" pitchFamily="18" charset="-127"/>
                <a:ea typeface="아리따-돋움4.0(OTF)-SemiBold" panose="02020603020101020101" pitchFamily="18" charset="-127"/>
                <a:cs typeface="+mj-cs"/>
              </a:defRPr>
            </a:lvl1pPr>
            <a:lvl2pPr marL="195731" indent="0">
              <a:buFontTx/>
              <a:buNone/>
              <a:defRPr lang="ko-KR" altLang="en-US" sz="2108" b="1" smtClean="0">
                <a:latin typeface="맑은 고딕" pitchFamily="50" charset="-127"/>
                <a:ea typeface="맑은 고딕" pitchFamily="50" charset="-127"/>
              </a:defRPr>
            </a:lvl2pPr>
            <a:lvl3pPr marL="476778" indent="0">
              <a:buFontTx/>
              <a:buNone/>
              <a:defRPr lang="ko-KR" altLang="en-US" sz="2108" b="1" smtClean="0">
                <a:latin typeface="맑은 고딕" pitchFamily="50" charset="-127"/>
                <a:ea typeface="맑은 고딕" pitchFamily="50" charset="-127"/>
              </a:defRPr>
            </a:lvl3pPr>
            <a:lvl4pPr marL="657452" indent="0">
              <a:buFontTx/>
              <a:buNone/>
              <a:defRPr lang="ko-KR" altLang="en-US" sz="2108" b="1" smtClean="0">
                <a:latin typeface="맑은 고딕" pitchFamily="50" charset="-127"/>
                <a:ea typeface="맑은 고딕" pitchFamily="50" charset="-127"/>
              </a:defRPr>
            </a:lvl4pPr>
            <a:lvl5pPr marL="854855" indent="0">
              <a:buFontTx/>
              <a:buNone/>
              <a:defRPr lang="ko-KR" altLang="en-US" sz="2108" b="1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>
              <a:spcBef>
                <a:spcPct val="0"/>
              </a:spcBef>
            </a:pPr>
            <a:r>
              <a:rPr lang="ko-KR" altLang="en-US" dirty="0"/>
              <a:t>마스터 텍스트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5552277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5F88CF2-58D6-4CAB-B472-9CB29180A6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8571C27-95C1-4B3C-BA71-6E33DAFF02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A8B72B56-065A-40D6-B64F-5117518A28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8F927C30-0B83-41DC-93DC-132DA6D7A2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324671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B53B99D4-A458-499B-9F16-821930C539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97FD4B69-EFC8-4404-88D4-4ED94B58F8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52E13F3-9753-4F55-9A22-7091AFF59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419102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E819254-9329-4F98-90F4-445443BD6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382" y="503978"/>
            <a:ext cx="3366037" cy="1763924"/>
          </a:xfrm>
        </p:spPr>
        <p:txBody>
          <a:bodyPr anchor="b"/>
          <a:lstStyle>
            <a:lvl1pPr>
              <a:defRPr sz="3372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487489E8-A086-4451-88AC-A116250F8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8418" y="1088454"/>
            <a:ext cx="5284946" cy="5372269"/>
          </a:xfrm>
        </p:spPr>
        <p:txBody>
          <a:bodyPr/>
          <a:lstStyle>
            <a:lvl1pPr>
              <a:defRPr sz="3372"/>
            </a:lvl1pPr>
            <a:lvl2pPr>
              <a:defRPr sz="2951"/>
            </a:lvl2pPr>
            <a:lvl3pPr>
              <a:defRPr sz="2529"/>
            </a:lvl3pPr>
            <a:lvl4pPr>
              <a:defRPr sz="2108"/>
            </a:lvl4pPr>
            <a:lvl5pPr>
              <a:defRPr sz="2108"/>
            </a:lvl5pPr>
            <a:lvl6pPr>
              <a:defRPr sz="2108"/>
            </a:lvl6pPr>
            <a:lvl7pPr>
              <a:defRPr sz="2108"/>
            </a:lvl7pPr>
            <a:lvl8pPr>
              <a:defRPr sz="2108"/>
            </a:lvl8pPr>
            <a:lvl9pPr>
              <a:defRPr sz="2108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E789355C-EC54-4E21-A303-15AFE451D0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19382" y="2267902"/>
            <a:ext cx="3366037" cy="4201570"/>
          </a:xfrm>
        </p:spPr>
        <p:txBody>
          <a:bodyPr/>
          <a:lstStyle>
            <a:lvl1pPr marL="0" indent="0">
              <a:buNone/>
              <a:defRPr sz="1686"/>
            </a:lvl1pPr>
            <a:lvl2pPr marL="481797" indent="0">
              <a:buNone/>
              <a:defRPr sz="1475"/>
            </a:lvl2pPr>
            <a:lvl3pPr marL="963595" indent="0">
              <a:buNone/>
              <a:defRPr sz="1265"/>
            </a:lvl3pPr>
            <a:lvl4pPr marL="1445392" indent="0">
              <a:buNone/>
              <a:defRPr sz="1054"/>
            </a:lvl4pPr>
            <a:lvl5pPr marL="1927189" indent="0">
              <a:buNone/>
              <a:defRPr sz="1054"/>
            </a:lvl5pPr>
            <a:lvl6pPr marL="2408987" indent="0">
              <a:buNone/>
              <a:defRPr sz="1054"/>
            </a:lvl6pPr>
            <a:lvl7pPr marL="2890784" indent="0">
              <a:buNone/>
              <a:defRPr sz="1054"/>
            </a:lvl7pPr>
            <a:lvl8pPr marL="3372582" indent="0">
              <a:buNone/>
              <a:defRPr sz="1054"/>
            </a:lvl8pPr>
            <a:lvl9pPr marL="3854379" indent="0">
              <a:buNone/>
              <a:defRPr sz="1054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8FE00F9A-ACB9-4563-A4DC-58FAFC7574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AB966635-1D5B-45DB-8931-4F11D5FDB6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9EBC3B4-974E-477E-8990-8C7903B6A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961639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3A5EA65-EE3A-4F86-99B1-EBDFEB95BF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382" y="503978"/>
            <a:ext cx="3366037" cy="1763924"/>
          </a:xfrm>
        </p:spPr>
        <p:txBody>
          <a:bodyPr anchor="b"/>
          <a:lstStyle>
            <a:lvl1pPr>
              <a:defRPr sz="3372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1B91FC65-7623-450D-8FD3-A3E90A26435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438418" y="1088454"/>
            <a:ext cx="5284946" cy="5372269"/>
          </a:xfrm>
        </p:spPr>
        <p:txBody>
          <a:bodyPr/>
          <a:lstStyle>
            <a:lvl1pPr marL="0" indent="0">
              <a:buNone/>
              <a:defRPr sz="3372"/>
            </a:lvl1pPr>
            <a:lvl2pPr marL="481797" indent="0">
              <a:buNone/>
              <a:defRPr sz="2951"/>
            </a:lvl2pPr>
            <a:lvl3pPr marL="963595" indent="0">
              <a:buNone/>
              <a:defRPr sz="2529"/>
            </a:lvl3pPr>
            <a:lvl4pPr marL="1445392" indent="0">
              <a:buNone/>
              <a:defRPr sz="2108"/>
            </a:lvl4pPr>
            <a:lvl5pPr marL="1927189" indent="0">
              <a:buNone/>
              <a:defRPr sz="2108"/>
            </a:lvl5pPr>
            <a:lvl6pPr marL="2408987" indent="0">
              <a:buNone/>
              <a:defRPr sz="2108"/>
            </a:lvl6pPr>
            <a:lvl7pPr marL="2890784" indent="0">
              <a:buNone/>
              <a:defRPr sz="2108"/>
            </a:lvl7pPr>
            <a:lvl8pPr marL="3372582" indent="0">
              <a:buNone/>
              <a:defRPr sz="2108"/>
            </a:lvl8pPr>
            <a:lvl9pPr marL="3854379" indent="0">
              <a:buNone/>
              <a:defRPr sz="2108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821568B-2946-4152-B8A0-2FCCEB7CB7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19382" y="2267902"/>
            <a:ext cx="3366037" cy="4201570"/>
          </a:xfrm>
        </p:spPr>
        <p:txBody>
          <a:bodyPr/>
          <a:lstStyle>
            <a:lvl1pPr marL="0" indent="0">
              <a:buNone/>
              <a:defRPr sz="1686"/>
            </a:lvl1pPr>
            <a:lvl2pPr marL="481797" indent="0">
              <a:buNone/>
              <a:defRPr sz="1475"/>
            </a:lvl2pPr>
            <a:lvl3pPr marL="963595" indent="0">
              <a:buNone/>
              <a:defRPr sz="1265"/>
            </a:lvl3pPr>
            <a:lvl4pPr marL="1445392" indent="0">
              <a:buNone/>
              <a:defRPr sz="1054"/>
            </a:lvl4pPr>
            <a:lvl5pPr marL="1927189" indent="0">
              <a:buNone/>
              <a:defRPr sz="1054"/>
            </a:lvl5pPr>
            <a:lvl6pPr marL="2408987" indent="0">
              <a:buNone/>
              <a:defRPr sz="1054"/>
            </a:lvl6pPr>
            <a:lvl7pPr marL="2890784" indent="0">
              <a:buNone/>
              <a:defRPr sz="1054"/>
            </a:lvl7pPr>
            <a:lvl8pPr marL="3372582" indent="0">
              <a:buNone/>
              <a:defRPr sz="1054"/>
            </a:lvl8pPr>
            <a:lvl9pPr marL="3854379" indent="0">
              <a:buNone/>
              <a:defRPr sz="1054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8AC436C9-B65E-4866-B4C1-E03F637DE2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9765291-6D07-45D9-954B-EF3F41530C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0F948C80-C1A5-4DE9-826C-33C2CA051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710506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754F556-33CF-4643-B65A-C48B637159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06D218B5-10A1-4498-B38F-C4B051D6FB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8C8777D-0166-4DFD-8D2B-39AEAF6890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229C7724-CE2C-4878-B61C-2A2B7BFDC8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E5A0EF8-688F-4675-974E-6C64E274A1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295810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0E1A8D11-2266-4031-B503-DB766AF206F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471532" y="402483"/>
            <a:ext cx="2250160" cy="640647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0CF2822-6AF8-4510-A21F-053EB0E86A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717710" y="402483"/>
            <a:ext cx="6593217" cy="640647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FEAC868-2341-4DA1-8CCD-7DF61EA0FA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D11A20D7-0B28-437F-98F3-EA4E2F2F56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FFBB62D-41F6-405E-86F9-3B221FCC50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345745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본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0164CF60-3A43-43FB-BDD6-75FE018A8A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73" y="1751"/>
          <a:ext cx="167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4" name="think-cell Slide" r:id="rId5" imgW="694" imgH="693" progId="TCLayout.ActiveDocument.1">
                  <p:embed/>
                </p:oleObj>
              </mc:Choice>
              <mc:Fallback>
                <p:oleObj name="think-cell Slide" r:id="rId5" imgW="694" imgH="693" progId="TCLayout.ActiveDocument.1">
                  <p:embed/>
                  <p:pic>
                    <p:nvPicPr>
                      <p:cNvPr id="2" name="개체 1" hidden="1">
                        <a:extLst>
                          <a:ext uri="{FF2B5EF4-FFF2-40B4-BE49-F238E27FC236}">
                            <a16:creationId xmlns:a16="http://schemas.microsoft.com/office/drawing/2014/main" id="{0164CF60-3A43-43FB-BDD6-75FE018A8A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73" y="1751"/>
                        <a:ext cx="1674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891615" y="7192984"/>
            <a:ext cx="656171" cy="208239"/>
          </a:xfrm>
          <a:prstGeom prst="rect">
            <a:avLst/>
          </a:prstGeom>
        </p:spPr>
        <p:txBody>
          <a:bodyPr/>
          <a:lstStyle>
            <a:lvl1pPr algn="ctr">
              <a:defRPr sz="1265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4.0(TTF)-Medium" panose="02020603020101020101" pitchFamily="18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Box 15"/>
          <p:cNvSpPr txBox="1"/>
          <p:nvPr userDrawn="1"/>
        </p:nvSpPr>
        <p:spPr bwMode="gray">
          <a:xfrm>
            <a:off x="110663" y="7192983"/>
            <a:ext cx="1561646" cy="3193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9pPr>
          </a:lstStyle>
          <a:p>
            <a:r>
              <a:rPr lang="en-US" altLang="ko-KR" sz="1475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4.0(OTF)-Light" panose="02020603020101020101" pitchFamily="18" charset="-127"/>
                <a:ea typeface="아리따-돋움4.0(OTF)-Light" panose="02020603020101020101" pitchFamily="18" charset="-127"/>
              </a:rPr>
              <a:t>Winning Together</a:t>
            </a:r>
            <a:endParaRPr lang="ko-KR" altLang="en-US" sz="1475" dirty="0">
              <a:solidFill>
                <a:schemeClr val="tx1">
                  <a:lumMod val="65000"/>
                  <a:lumOff val="35000"/>
                </a:schemeClr>
              </a:solidFill>
              <a:latin typeface="아리따-돋움4.0(OTF)-Light" panose="02020603020101020101" pitchFamily="18" charset="-127"/>
              <a:ea typeface="아리따-돋움4.0(OTF)-Light" panose="02020603020101020101" pitchFamily="18" charset="-127"/>
            </a:endParaRPr>
          </a:p>
        </p:txBody>
      </p: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11267" y="131709"/>
            <a:ext cx="7360879" cy="463731"/>
          </a:xfrm>
          <a:prstGeom prst="rect">
            <a:avLst/>
          </a:prstGeom>
        </p:spPr>
        <p:txBody>
          <a:bodyPr anchor="ctr"/>
          <a:lstStyle>
            <a:lvl1pPr algn="l">
              <a:defRPr lang="ko-KR" altLang="en-US" sz="2000" kern="1200" spc="-158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아리따-돋움4.0(OTF)-SemiBold" panose="02020603020101020101" pitchFamily="18" charset="-127"/>
                <a:ea typeface="아리따-돋움4.0(OTF)-SemiBold" panose="02020603020101020101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63595" rtl="0" eaLnBrk="1" latinLnBrk="1" hangingPunct="1">
              <a:defRPr/>
            </a:pPr>
            <a:endParaRPr lang="ko-KR" altLang="en-US" dirty="0"/>
          </a:p>
        </p:txBody>
      </p:sp>
      <p:cxnSp>
        <p:nvCxnSpPr>
          <p:cNvPr id="25" name="직선 연결선 24"/>
          <p:cNvCxnSpPr/>
          <p:nvPr userDrawn="1"/>
        </p:nvCxnSpPr>
        <p:spPr>
          <a:xfrm>
            <a:off x="249275" y="0"/>
            <a:ext cx="9940852" cy="0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제목 18"/>
          <p:cNvSpPr txBox="1">
            <a:spLocks/>
          </p:cNvSpPr>
          <p:nvPr userDrawn="1"/>
        </p:nvSpPr>
        <p:spPr>
          <a:xfrm>
            <a:off x="211267" y="131709"/>
            <a:ext cx="7360879" cy="463731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/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endParaRPr lang="ko-KR" altLang="en-US" sz="2108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4.0(TTF)-Bold" panose="02020603020101020101" pitchFamily="18" charset="-127"/>
            </a:endParaRPr>
          </a:p>
        </p:txBody>
      </p:sp>
      <p:sp>
        <p:nvSpPr>
          <p:cNvPr id="27" name="모서리가 둥근 직사각형 26"/>
          <p:cNvSpPr/>
          <p:nvPr userDrawn="1"/>
        </p:nvSpPr>
        <p:spPr>
          <a:xfrm>
            <a:off x="7650329" y="-3309"/>
            <a:ext cx="796708" cy="277783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54" b="0" spc="-53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아리따-돋움4.0(OTF)-SemiBold" panose="02020603020101020101" pitchFamily="18" charset="-127"/>
                <a:ea typeface="아리따-돋움4.0(OTF)-SemiBold" panose="02020603020101020101" pitchFamily="18" charset="-127"/>
              </a:rPr>
              <a:t>강한브랜드</a:t>
            </a:r>
            <a:endParaRPr lang="ko-KR" altLang="en-US" sz="1054" b="0" spc="-53" baseline="0" dirty="0">
              <a:solidFill>
                <a:schemeClr val="tx1">
                  <a:lumMod val="65000"/>
                  <a:lumOff val="35000"/>
                </a:schemeClr>
              </a:solidFill>
              <a:latin typeface="아리따-돋움4.0(OTF)-SemiBold" panose="02020603020101020101" pitchFamily="18" charset="-127"/>
              <a:ea typeface="아리따-돋움4.0(OTF)-SemiBold" panose="02020603020101020101" pitchFamily="18" charset="-127"/>
            </a:endParaRPr>
          </a:p>
        </p:txBody>
      </p:sp>
      <p:sp>
        <p:nvSpPr>
          <p:cNvPr id="28" name="모서리가 둥근 직사각형 27"/>
          <p:cNvSpPr/>
          <p:nvPr userDrawn="1"/>
        </p:nvSpPr>
        <p:spPr>
          <a:xfrm>
            <a:off x="8519664" y="-3309"/>
            <a:ext cx="796708" cy="277783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54" b="0" spc="-53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4.0(OTF)-SemiBold" panose="02020603020101020101" pitchFamily="18" charset="-127"/>
                <a:ea typeface="아리따-돋움4.0(OTF)-SemiBold" panose="02020603020101020101" pitchFamily="18" charset="-127"/>
              </a:rPr>
              <a:t>디지털대전환</a:t>
            </a:r>
          </a:p>
        </p:txBody>
      </p:sp>
      <p:sp>
        <p:nvSpPr>
          <p:cNvPr id="29" name="모서리가 둥근 직사각형 28"/>
          <p:cNvSpPr/>
          <p:nvPr userDrawn="1"/>
        </p:nvSpPr>
        <p:spPr>
          <a:xfrm>
            <a:off x="9389000" y="-3309"/>
            <a:ext cx="796708" cy="277783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54" b="0" spc="-53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4.0(OTF)-SemiBold" panose="02020603020101020101" pitchFamily="18" charset="-127"/>
                <a:ea typeface="아리따-돋움4.0(OTF)-SemiBold" panose="02020603020101020101" pitchFamily="18" charset="-127"/>
              </a:rPr>
              <a:t>사업체질혁신</a:t>
            </a:r>
          </a:p>
        </p:txBody>
      </p:sp>
      <p:cxnSp>
        <p:nvCxnSpPr>
          <p:cNvPr id="31" name="직선 연결선 30"/>
          <p:cNvCxnSpPr/>
          <p:nvPr userDrawn="1"/>
        </p:nvCxnSpPr>
        <p:spPr>
          <a:xfrm>
            <a:off x="211267" y="651437"/>
            <a:ext cx="10016867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직선 연결선 31"/>
          <p:cNvCxnSpPr/>
          <p:nvPr userDrawn="1"/>
        </p:nvCxnSpPr>
        <p:spPr>
          <a:xfrm>
            <a:off x="210796" y="7192191"/>
            <a:ext cx="10017809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그림 3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2349" y="7362617"/>
            <a:ext cx="1365785" cy="138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0044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본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0164CF60-3A43-43FB-BDD6-75FE018A8A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73" y="1751"/>
          <a:ext cx="167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8" name="think-cell Slide" r:id="rId5" imgW="694" imgH="693" progId="TCLayout.ActiveDocument.1">
                  <p:embed/>
                </p:oleObj>
              </mc:Choice>
              <mc:Fallback>
                <p:oleObj name="think-cell Slide" r:id="rId5" imgW="694" imgH="693" progId="TCLayout.ActiveDocument.1">
                  <p:embed/>
                  <p:pic>
                    <p:nvPicPr>
                      <p:cNvPr id="2" name="개체 1" hidden="1">
                        <a:extLst>
                          <a:ext uri="{FF2B5EF4-FFF2-40B4-BE49-F238E27FC236}">
                            <a16:creationId xmlns:a16="http://schemas.microsoft.com/office/drawing/2014/main" id="{0164CF60-3A43-43FB-BDD6-75FE018A8A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73" y="1751"/>
                        <a:ext cx="1674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891615" y="7192984"/>
            <a:ext cx="656171" cy="208239"/>
          </a:xfrm>
          <a:prstGeom prst="rect">
            <a:avLst/>
          </a:prstGeom>
        </p:spPr>
        <p:txBody>
          <a:bodyPr/>
          <a:lstStyle>
            <a:lvl1pPr algn="ctr">
              <a:defRPr sz="1265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4.0(TTF)-Medium" panose="02020603020101020101" pitchFamily="18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Box 15"/>
          <p:cNvSpPr txBox="1"/>
          <p:nvPr userDrawn="1"/>
        </p:nvSpPr>
        <p:spPr bwMode="gray">
          <a:xfrm>
            <a:off x="110663" y="7192983"/>
            <a:ext cx="1561646" cy="3193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9pPr>
          </a:lstStyle>
          <a:p>
            <a:r>
              <a:rPr lang="en-US" altLang="ko-KR" sz="1475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4.0(OTF)-Light" panose="02020603020101020101" pitchFamily="18" charset="-127"/>
                <a:ea typeface="아리따-돋움4.0(OTF)-Light" panose="02020603020101020101" pitchFamily="18" charset="-127"/>
              </a:rPr>
              <a:t>Winning Together</a:t>
            </a:r>
            <a:endParaRPr lang="ko-KR" altLang="en-US" sz="1475" dirty="0">
              <a:solidFill>
                <a:schemeClr val="tx1">
                  <a:lumMod val="65000"/>
                  <a:lumOff val="35000"/>
                </a:schemeClr>
              </a:solidFill>
              <a:latin typeface="아리따-돋움4.0(OTF)-Light" panose="02020603020101020101" pitchFamily="18" charset="-127"/>
              <a:ea typeface="아리따-돋움4.0(OTF)-Light" panose="02020603020101020101" pitchFamily="18" charset="-127"/>
            </a:endParaRPr>
          </a:p>
        </p:txBody>
      </p:sp>
      <p:sp>
        <p:nvSpPr>
          <p:cNvPr id="26" name="제목 18"/>
          <p:cNvSpPr txBox="1">
            <a:spLocks/>
          </p:cNvSpPr>
          <p:nvPr userDrawn="1"/>
        </p:nvSpPr>
        <p:spPr>
          <a:xfrm>
            <a:off x="211267" y="46748"/>
            <a:ext cx="7360879" cy="463731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/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endParaRPr lang="ko-KR" altLang="en-US" sz="2108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4.0(TTF)-Bold" panose="02020603020101020101" pitchFamily="18" charset="-127"/>
            </a:endParaRPr>
          </a:p>
        </p:txBody>
      </p:sp>
      <p:pic>
        <p:nvPicPr>
          <p:cNvPr id="33" name="그림 3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2349" y="7362617"/>
            <a:ext cx="1365785" cy="138194"/>
          </a:xfrm>
          <a:prstGeom prst="rect">
            <a:avLst/>
          </a:prstGeom>
        </p:spPr>
      </p:pic>
      <p:graphicFrame>
        <p:nvGraphicFramePr>
          <p:cNvPr id="23" name="표 22">
            <a:extLst>
              <a:ext uri="{FF2B5EF4-FFF2-40B4-BE49-F238E27FC236}">
                <a16:creationId xmlns:a16="http://schemas.microsoft.com/office/drawing/2014/main" id="{C5E20A51-8402-4AA8-9EF2-65DBA725037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035940961"/>
              </p:ext>
            </p:extLst>
          </p:nvPr>
        </p:nvGraphicFramePr>
        <p:xfrm>
          <a:off x="103535" y="224569"/>
          <a:ext cx="10169194" cy="408782"/>
        </p:xfrm>
        <a:graphic>
          <a:graphicData uri="http://schemas.openxmlformats.org/drawingml/2006/table">
            <a:tbl>
              <a:tblPr>
                <a:tableStyleId>{60A59446-8F78-4DC5-A605-F528D7DF9056}</a:tableStyleId>
              </a:tblPr>
              <a:tblGrid>
                <a:gridCol w="1905557">
                  <a:extLst>
                    <a:ext uri="{9D8B030D-6E8A-4147-A177-3AD203B41FA5}">
                      <a16:colId xmlns:a16="http://schemas.microsoft.com/office/drawing/2014/main" val="2078305141"/>
                    </a:ext>
                  </a:extLst>
                </a:gridCol>
                <a:gridCol w="5627276">
                  <a:extLst>
                    <a:ext uri="{9D8B030D-6E8A-4147-A177-3AD203B41FA5}">
                      <a16:colId xmlns:a16="http://schemas.microsoft.com/office/drawing/2014/main" val="298741396"/>
                    </a:ext>
                  </a:extLst>
                </a:gridCol>
                <a:gridCol w="2636361">
                  <a:extLst>
                    <a:ext uri="{9D8B030D-6E8A-4147-A177-3AD203B41FA5}">
                      <a16:colId xmlns:a16="http://schemas.microsoft.com/office/drawing/2014/main" val="622586199"/>
                    </a:ext>
                  </a:extLst>
                </a:gridCol>
              </a:tblGrid>
              <a:tr h="408782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L="96364" marR="96364" marT="50398" marB="50398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L="96364" marR="96364" marT="50398" marB="50398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L="96364" marR="96364" marT="50398" marB="50398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9296262"/>
                  </a:ext>
                </a:extLst>
              </a:tr>
            </a:tbl>
          </a:graphicData>
        </a:graphic>
      </p:graphicFrame>
      <p:graphicFrame>
        <p:nvGraphicFramePr>
          <p:cNvPr id="24" name="표 23">
            <a:extLst>
              <a:ext uri="{FF2B5EF4-FFF2-40B4-BE49-F238E27FC236}">
                <a16:creationId xmlns:a16="http://schemas.microsoft.com/office/drawing/2014/main" id="{1B314F1B-2F7C-411C-9DF5-B2B6F571BD4D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87672247"/>
              </p:ext>
            </p:extLst>
          </p:nvPr>
        </p:nvGraphicFramePr>
        <p:xfrm>
          <a:off x="7636368" y="633351"/>
          <a:ext cx="2636361" cy="6429857"/>
        </p:xfrm>
        <a:graphic>
          <a:graphicData uri="http://schemas.openxmlformats.org/drawingml/2006/table">
            <a:tbl>
              <a:tblPr>
                <a:tableStyleId>{60A59446-8F78-4DC5-A605-F528D7DF9056}</a:tableStyleId>
              </a:tblPr>
              <a:tblGrid>
                <a:gridCol w="271879">
                  <a:extLst>
                    <a:ext uri="{9D8B030D-6E8A-4147-A177-3AD203B41FA5}">
                      <a16:colId xmlns:a16="http://schemas.microsoft.com/office/drawing/2014/main" val="1361842895"/>
                    </a:ext>
                  </a:extLst>
                </a:gridCol>
                <a:gridCol w="2364482">
                  <a:extLst>
                    <a:ext uri="{9D8B030D-6E8A-4147-A177-3AD203B41FA5}">
                      <a16:colId xmlns:a16="http://schemas.microsoft.com/office/drawing/2014/main" val="1727351317"/>
                    </a:ext>
                  </a:extLst>
                </a:gridCol>
              </a:tblGrid>
              <a:tr h="6429857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L="96364" marR="96364" marT="50398" marB="50398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L="96364" marR="96364" marT="50398" marB="50398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9281812"/>
                  </a:ext>
                </a:extLst>
              </a:tr>
            </a:tbl>
          </a:graphicData>
        </a:graphic>
      </p:graphicFrame>
      <p:sp>
        <p:nvSpPr>
          <p:cNvPr id="30" name="텍스트 개체 틀 17">
            <a:extLst>
              <a:ext uri="{FF2B5EF4-FFF2-40B4-BE49-F238E27FC236}">
                <a16:creationId xmlns:a16="http://schemas.microsoft.com/office/drawing/2014/main" id="{462C0164-6CED-4735-91C8-D5912CF24F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6671" y="262717"/>
            <a:ext cx="1787875" cy="3324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265"/>
            </a:lvl1pPr>
          </a:lstStyle>
          <a:p>
            <a:pPr lvl="0"/>
            <a:endParaRPr lang="ko-KR" altLang="en-US" dirty="0"/>
          </a:p>
        </p:txBody>
      </p:sp>
      <p:sp>
        <p:nvSpPr>
          <p:cNvPr id="34" name="텍스트 개체 틀 17">
            <a:extLst>
              <a:ext uri="{FF2B5EF4-FFF2-40B4-BE49-F238E27FC236}">
                <a16:creationId xmlns:a16="http://schemas.microsoft.com/office/drawing/2014/main" id="{97262E1B-69E2-4F3E-B792-15B0910B71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91924" y="262717"/>
            <a:ext cx="5544445" cy="3324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265"/>
            </a:lvl1pPr>
          </a:lstStyle>
          <a:p>
            <a:pPr lvl="0"/>
            <a:endParaRPr lang="ko-KR" altLang="en-US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5E2165F-46EB-4488-A67D-F8F260B5C23E}"/>
              </a:ext>
            </a:extLst>
          </p:cNvPr>
          <p:cNvSpPr txBox="1"/>
          <p:nvPr userDrawn="1"/>
        </p:nvSpPr>
        <p:spPr>
          <a:xfrm>
            <a:off x="7636368" y="262716"/>
            <a:ext cx="2636361" cy="2870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65" dirty="0"/>
              <a:t>설명</a:t>
            </a:r>
          </a:p>
        </p:txBody>
      </p:sp>
      <p:sp>
        <p:nvSpPr>
          <p:cNvPr id="36" name="텍스트 개체 틀 17">
            <a:extLst>
              <a:ext uri="{FF2B5EF4-FFF2-40B4-BE49-F238E27FC236}">
                <a16:creationId xmlns:a16="http://schemas.microsoft.com/office/drawing/2014/main" id="{DEB20D65-FD86-46D3-AF85-89257E305E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01463" y="671500"/>
            <a:ext cx="2371266" cy="6325146"/>
          </a:xfrm>
          <a:prstGeom prst="rect">
            <a:avLst/>
          </a:prstGeom>
        </p:spPr>
        <p:txBody>
          <a:bodyPr lIns="36000" tIns="46800" rIns="36000" bIns="46800">
            <a:noAutofit/>
          </a:bodyPr>
          <a:lstStyle>
            <a:lvl1pPr marL="0" indent="0" algn="l">
              <a:lnSpc>
                <a:spcPct val="110000"/>
              </a:lnSpc>
              <a:spcBef>
                <a:spcPts val="1054"/>
              </a:spcBef>
              <a:buNone/>
              <a:defRPr sz="843"/>
            </a:lvl1pPr>
          </a:lstStyle>
          <a:p>
            <a:pPr lvl="0"/>
            <a:endParaRPr lang="ko-KR" altLang="en-US" dirty="0"/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5453301F-53E2-4E0D-9BE5-9FC6BD806710}"/>
              </a:ext>
            </a:extLst>
          </p:cNvPr>
          <p:cNvSpPr/>
          <p:nvPr userDrawn="1"/>
        </p:nvSpPr>
        <p:spPr>
          <a:xfrm>
            <a:off x="119307" y="747027"/>
            <a:ext cx="7387883" cy="6325146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sys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84"/>
          </a:p>
        </p:txBody>
      </p:sp>
    </p:spTree>
    <p:extLst>
      <p:ext uri="{BB962C8B-B14F-4D97-AF65-F5344CB8AC3E}">
        <p14:creationId xmlns:p14="http://schemas.microsoft.com/office/powerpoint/2010/main" val="34723919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53AD8C81-E7F7-42E8-B4C3-96C0457E78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73" y="1751"/>
          <a:ext cx="167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2" name="think-cell Slide" r:id="rId4" imgW="694" imgH="693" progId="TCLayout.ActiveDocument.1">
                  <p:embed/>
                </p:oleObj>
              </mc:Choice>
              <mc:Fallback>
                <p:oleObj name="think-cell Slide" r:id="rId4" imgW="694" imgH="693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53AD8C81-E7F7-42E8-B4C3-96C0457E7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73" y="1751"/>
                        <a:ext cx="1674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그림 2">
            <a:extLst>
              <a:ext uri="{FF2B5EF4-FFF2-40B4-BE49-F238E27FC236}">
                <a16:creationId xmlns:a16="http://schemas.microsoft.com/office/drawing/2014/main" id="{996D2E22-65CF-4DA5-9354-5B93DD86A3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2349" y="7362617"/>
            <a:ext cx="1365785" cy="138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1351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&amp;2줄컨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0FA6931D-300F-49E8-AD2F-CB1918C8C9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4C5DE77-B05E-4246-97AB-5488B13B25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A2C35-B01B-4692-A311-0CA971B40953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8" name="내용 개체 틀 7">
            <a:extLst>
              <a:ext uri="{FF2B5EF4-FFF2-40B4-BE49-F238E27FC236}">
                <a16:creationId xmlns:a16="http://schemas.microsoft.com/office/drawing/2014/main" id="{8745280F-362A-4F7F-930A-8A008E77100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45289" y="903357"/>
            <a:ext cx="9972638" cy="979430"/>
          </a:xfrm>
        </p:spPr>
        <p:txBody>
          <a:bodyPr>
            <a:normAutofit/>
          </a:bodyPr>
          <a:lstStyle>
            <a:lvl1pPr marL="0" indent="0">
              <a:buNone/>
              <a:defRPr sz="1897" baseline="0">
                <a:latin typeface="+mn-lt"/>
                <a:ea typeface="+mn-ea"/>
              </a:defRPr>
            </a:lvl1pPr>
          </a:lstStyle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433942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288" userDrawn="1">
          <p15:clr>
            <a:srgbClr val="FBAE40"/>
          </p15:clr>
        </p15:guide>
        <p15:guide id="3" pos="6276" userDrawn="1">
          <p15:clr>
            <a:srgbClr val="FBAE40"/>
          </p15:clr>
        </p15:guide>
        <p15:guide id="4" orient="horz" pos="463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제목 및 내용" preserve="1" userDrawn="1">
  <p:cSld name="2_제목 및 내용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>
            <a:extLst>
              <a:ext uri="{FF2B5EF4-FFF2-40B4-BE49-F238E27FC236}">
                <a16:creationId xmlns:a16="http://schemas.microsoft.com/office/drawing/2014/main" id="{51F48F41-87FF-407A-9439-6FF52E797C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8" name="내용 개체 틀 7">
            <a:extLst>
              <a:ext uri="{FF2B5EF4-FFF2-40B4-BE49-F238E27FC236}">
                <a16:creationId xmlns:a16="http://schemas.microsoft.com/office/drawing/2014/main" id="{9957EAC3-7EE1-4C3E-BB52-0E678A47A99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45929" y="903358"/>
            <a:ext cx="9972638" cy="6085843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3CF1702C-769B-4C92-9205-DAAEAADD62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AA2C35-B01B-4692-A311-0CA971B40953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888860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28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0FA6931D-300F-49E8-AD2F-CB1918C8C9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4C5DE77-B05E-4246-97AB-5488B13B25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A2C35-B01B-4692-A311-0CA971B40953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716677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288" userDrawn="1">
          <p15:clr>
            <a:srgbClr val="FBAE40"/>
          </p15:clr>
        </p15:guide>
        <p15:guide id="3" pos="6276" userDrawn="1">
          <p15:clr>
            <a:srgbClr val="FBAE40"/>
          </p15:clr>
        </p15:guide>
        <p15:guide id="4" orient="horz" pos="4631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공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43962915-D85B-437C-989D-E8927630AB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A2C35-B01B-4692-A311-0CA971B40953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968412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288" userDrawn="1">
          <p15:clr>
            <a:srgbClr val="FBAE40"/>
          </p15:clr>
        </p15:guide>
        <p15:guide id="3" pos="6276" userDrawn="1">
          <p15:clr>
            <a:srgbClr val="FBAE40"/>
          </p15:clr>
        </p15:guide>
        <p15:guide id="4" orient="horz" pos="463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10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673" y="1751"/>
          <a:ext cx="1672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3" name="개체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73" y="1751"/>
                        <a:ext cx="1672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슬라이드 번호 개체 틀 28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4891615" y="7192984"/>
            <a:ext cx="656171" cy="208239"/>
          </a:xfrm>
          <a:prstGeom prst="rect">
            <a:avLst/>
          </a:prstGeom>
        </p:spPr>
        <p:txBody>
          <a:bodyPr/>
          <a:lstStyle>
            <a:lvl1pPr algn="ctr">
              <a:defRPr sz="1265"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3926128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3" r:id="rId3"/>
    <p:sldLayoutId id="2147483744" r:id="rId4"/>
    <p:sldLayoutId id="2147483742" r:id="rId5"/>
  </p:sldLayoutIdLst>
  <p:hf hdr="0" ftr="0" dt="0"/>
  <p:txStyles>
    <p:titleStyle>
      <a:lvl1pPr algn="ctr" defTabSz="963595" rtl="0" eaLnBrk="1" latinLnBrk="1" hangingPunct="1">
        <a:spcBef>
          <a:spcPct val="0"/>
        </a:spcBef>
        <a:buNone/>
        <a:defRPr sz="463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1348" indent="-361348" algn="l" defTabSz="963595" rtl="0" eaLnBrk="1" latinLnBrk="1" hangingPunct="1">
        <a:spcBef>
          <a:spcPct val="20000"/>
        </a:spcBef>
        <a:buFont typeface="Arial" pitchFamily="34" charset="0"/>
        <a:buChar char="•"/>
        <a:defRPr sz="3372" kern="1200">
          <a:solidFill>
            <a:schemeClr val="tx1"/>
          </a:solidFill>
          <a:latin typeface="+mn-lt"/>
          <a:ea typeface="+mn-ea"/>
          <a:cs typeface="+mn-cs"/>
        </a:defRPr>
      </a:lvl1pPr>
      <a:lvl2pPr marL="782921" indent="-301123" algn="l" defTabSz="963595" rtl="0" eaLnBrk="1" latinLnBrk="1" hangingPunct="1">
        <a:spcBef>
          <a:spcPct val="20000"/>
        </a:spcBef>
        <a:buFont typeface="Arial" pitchFamily="34" charset="0"/>
        <a:buChar char="–"/>
        <a:defRPr sz="2951" kern="1200">
          <a:solidFill>
            <a:schemeClr val="tx1"/>
          </a:solidFill>
          <a:latin typeface="+mn-lt"/>
          <a:ea typeface="+mn-ea"/>
          <a:cs typeface="+mn-cs"/>
        </a:defRPr>
      </a:lvl2pPr>
      <a:lvl3pPr marL="1204493" indent="-240899" algn="l" defTabSz="963595" rtl="0" eaLnBrk="1" latinLnBrk="1" hangingPunct="1">
        <a:spcBef>
          <a:spcPct val="20000"/>
        </a:spcBef>
        <a:buFont typeface="Arial" pitchFamily="34" charset="0"/>
        <a:buChar char="•"/>
        <a:defRPr sz="2529" kern="1200">
          <a:solidFill>
            <a:schemeClr val="tx1"/>
          </a:solidFill>
          <a:latin typeface="+mn-lt"/>
          <a:ea typeface="+mn-ea"/>
          <a:cs typeface="+mn-cs"/>
        </a:defRPr>
      </a:lvl3pPr>
      <a:lvl4pPr marL="1686291" indent="-240899" algn="l" defTabSz="963595" rtl="0" eaLnBrk="1" latinLnBrk="1" hangingPunct="1">
        <a:spcBef>
          <a:spcPct val="20000"/>
        </a:spcBef>
        <a:buFont typeface="Arial" pitchFamily="34" charset="0"/>
        <a:buChar char="–"/>
        <a:defRPr sz="2108" kern="1200">
          <a:solidFill>
            <a:schemeClr val="tx1"/>
          </a:solidFill>
          <a:latin typeface="+mn-lt"/>
          <a:ea typeface="+mn-ea"/>
          <a:cs typeface="+mn-cs"/>
        </a:defRPr>
      </a:lvl4pPr>
      <a:lvl5pPr marL="2168088" indent="-240899" algn="l" defTabSz="963595" rtl="0" eaLnBrk="1" latinLnBrk="1" hangingPunct="1">
        <a:spcBef>
          <a:spcPct val="20000"/>
        </a:spcBef>
        <a:buFont typeface="Arial" pitchFamily="34" charset="0"/>
        <a:buChar char="»"/>
        <a:defRPr sz="2108" kern="1200">
          <a:solidFill>
            <a:schemeClr val="tx1"/>
          </a:solidFill>
          <a:latin typeface="+mn-lt"/>
          <a:ea typeface="+mn-ea"/>
          <a:cs typeface="+mn-cs"/>
        </a:defRPr>
      </a:lvl5pPr>
      <a:lvl6pPr marL="2649885" indent="-240899" algn="l" defTabSz="963595" rtl="0" eaLnBrk="1" latinLnBrk="1" hangingPunct="1">
        <a:spcBef>
          <a:spcPct val="20000"/>
        </a:spcBef>
        <a:buFont typeface="Arial" pitchFamily="34" charset="0"/>
        <a:buChar char="•"/>
        <a:defRPr sz="2108" kern="1200">
          <a:solidFill>
            <a:schemeClr val="tx1"/>
          </a:solidFill>
          <a:latin typeface="+mn-lt"/>
          <a:ea typeface="+mn-ea"/>
          <a:cs typeface="+mn-cs"/>
        </a:defRPr>
      </a:lvl6pPr>
      <a:lvl7pPr marL="3131683" indent="-240899" algn="l" defTabSz="963595" rtl="0" eaLnBrk="1" latinLnBrk="1" hangingPunct="1">
        <a:spcBef>
          <a:spcPct val="20000"/>
        </a:spcBef>
        <a:buFont typeface="Arial" pitchFamily="34" charset="0"/>
        <a:buChar char="•"/>
        <a:defRPr sz="2108" kern="1200">
          <a:solidFill>
            <a:schemeClr val="tx1"/>
          </a:solidFill>
          <a:latin typeface="+mn-lt"/>
          <a:ea typeface="+mn-ea"/>
          <a:cs typeface="+mn-cs"/>
        </a:defRPr>
      </a:lvl7pPr>
      <a:lvl8pPr marL="3613480" indent="-240899" algn="l" defTabSz="963595" rtl="0" eaLnBrk="1" latinLnBrk="1" hangingPunct="1">
        <a:spcBef>
          <a:spcPct val="20000"/>
        </a:spcBef>
        <a:buFont typeface="Arial" pitchFamily="34" charset="0"/>
        <a:buChar char="•"/>
        <a:defRPr sz="2108" kern="1200">
          <a:solidFill>
            <a:schemeClr val="tx1"/>
          </a:solidFill>
          <a:latin typeface="+mn-lt"/>
          <a:ea typeface="+mn-ea"/>
          <a:cs typeface="+mn-cs"/>
        </a:defRPr>
      </a:lvl8pPr>
      <a:lvl9pPr marL="4095278" indent="-240899" algn="l" defTabSz="963595" rtl="0" eaLnBrk="1" latinLnBrk="1" hangingPunct="1">
        <a:spcBef>
          <a:spcPct val="20000"/>
        </a:spcBef>
        <a:buFont typeface="Arial" pitchFamily="34" charset="0"/>
        <a:buChar char="•"/>
        <a:defRPr sz="210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1pPr>
      <a:lvl2pPr marL="481797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2pPr>
      <a:lvl3pPr marL="963595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3pPr>
      <a:lvl4pPr marL="1445392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4pPr>
      <a:lvl5pPr marL="1927189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5pPr>
      <a:lvl6pPr marL="2408987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6pPr>
      <a:lvl7pPr marL="2890784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7pPr>
      <a:lvl8pPr marL="3372582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8pPr>
      <a:lvl9pPr marL="3854379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D23CA64A-F672-461E-A4CA-925B2C710FF9}"/>
              </a:ext>
            </a:extLst>
          </p:cNvPr>
          <p:cNvSpPr/>
          <p:nvPr userDrawn="1"/>
        </p:nvSpPr>
        <p:spPr>
          <a:xfrm>
            <a:off x="0" y="0"/>
            <a:ext cx="10439400" cy="8301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84"/>
          </a:p>
        </p:txBody>
      </p:sp>
      <p:pic>
        <p:nvPicPr>
          <p:cNvPr id="14" name="그림 13"/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63" b="-10453"/>
          <a:stretch/>
        </p:blipFill>
        <p:spPr>
          <a:xfrm>
            <a:off x="9006602" y="7139933"/>
            <a:ext cx="1216710" cy="343134"/>
          </a:xfrm>
          <a:prstGeom prst="rect">
            <a:avLst/>
          </a:prstGeom>
        </p:spPr>
      </p:pic>
      <p:sp>
        <p:nvSpPr>
          <p:cNvPr id="4" name="제목 개체 틀 3">
            <a:extLst>
              <a:ext uri="{FF2B5EF4-FFF2-40B4-BE49-F238E27FC236}">
                <a16:creationId xmlns:a16="http://schemas.microsoft.com/office/drawing/2014/main" id="{F6D3A327-335A-403D-BE10-A7BA794862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290" y="103452"/>
            <a:ext cx="9978023" cy="6981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D0050555-7CE6-4CD8-A147-6912C1C80F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45290" y="905089"/>
            <a:ext cx="9978023" cy="60864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 편집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2E76563-3B50-414E-9A20-1306EDA306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7371" y="7139932"/>
            <a:ext cx="2348865" cy="2692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65">
                <a:solidFill>
                  <a:schemeClr val="tx1">
                    <a:tint val="75000"/>
                  </a:schemeClr>
                </a:solidFill>
                <a:latin typeface="아리따-돋움4.0(OTF)-Medium" panose="02020603020101020101" pitchFamily="18" charset="-127"/>
                <a:ea typeface="아리따-돋움4.0(OTF)-Medium" panose="02020603020101020101" pitchFamily="18" charset="-127"/>
              </a:defRPr>
            </a:lvl1pPr>
          </a:lstStyle>
          <a:p>
            <a:fld id="{71AA2C35-B01B-4692-A311-0CA971B40953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26451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06" r:id="rId2"/>
    <p:sldLayoutId id="2147483687" r:id="rId3"/>
    <p:sldLayoutId id="2147483721" r:id="rId4"/>
    <p:sldLayoutId id="2147483723" r:id="rId5"/>
    <p:sldLayoutId id="2147483720" r:id="rId6"/>
    <p:sldLayoutId id="2147483688" r:id="rId7"/>
    <p:sldLayoutId id="2147483704" r:id="rId8"/>
    <p:sldLayoutId id="2147483705" r:id="rId9"/>
  </p:sldLayoutIdLst>
  <p:hf hdr="0" ftr="0" dt="0"/>
  <p:txStyles>
    <p:titleStyle>
      <a:lvl1pPr algn="l" defTabSz="963595" rtl="0" eaLnBrk="1" latinLnBrk="1" hangingPunct="1">
        <a:lnSpc>
          <a:spcPct val="90000"/>
        </a:lnSpc>
        <a:spcBef>
          <a:spcPct val="0"/>
        </a:spcBef>
        <a:buNone/>
        <a:defRPr sz="3372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81423" indent="-381423" algn="l" defTabSz="963595" rtl="0" eaLnBrk="1" latinLnBrk="1" hangingPunct="1">
        <a:lnSpc>
          <a:spcPct val="120000"/>
        </a:lnSpc>
        <a:spcBef>
          <a:spcPts val="632"/>
        </a:spcBef>
        <a:buFont typeface="Wingdings" panose="05000000000000000000" pitchFamily="2" charset="2"/>
        <a:buChar char="§"/>
        <a:defRPr sz="2951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722696" indent="-341273" algn="l" defTabSz="963595" rtl="0" eaLnBrk="1" latinLnBrk="1" hangingPunct="1">
        <a:lnSpc>
          <a:spcPct val="120000"/>
        </a:lnSpc>
        <a:spcBef>
          <a:spcPts val="422"/>
        </a:spcBef>
        <a:buFont typeface="아리따-돋움4.0(OTF)-Medium" panose="02020603020101020101" pitchFamily="18" charset="-127"/>
        <a:buChar char="-"/>
        <a:defRPr sz="2529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418626" indent="-455031" algn="l" defTabSz="963595" rtl="0" eaLnBrk="1" latinLnBrk="1" hangingPunct="1">
        <a:lnSpc>
          <a:spcPct val="120000"/>
        </a:lnSpc>
        <a:spcBef>
          <a:spcPts val="0"/>
        </a:spcBef>
        <a:buFont typeface="Wingdings" panose="05000000000000000000" pitchFamily="2" charset="2"/>
        <a:buChar char="ü"/>
        <a:defRPr sz="2108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86291" indent="-240899" algn="l" defTabSz="963595" rtl="0" eaLnBrk="1" latinLnBrk="1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•"/>
        <a:defRPr sz="1897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168088" indent="-240899" algn="l" defTabSz="963595" rtl="0" eaLnBrk="1" latinLnBrk="1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•"/>
        <a:defRPr sz="1897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649885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1897" kern="1200">
          <a:solidFill>
            <a:schemeClr val="tx1"/>
          </a:solidFill>
          <a:latin typeface="+mn-lt"/>
          <a:ea typeface="+mn-ea"/>
          <a:cs typeface="+mn-cs"/>
        </a:defRPr>
      </a:lvl6pPr>
      <a:lvl7pPr marL="3131683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1897" kern="1200">
          <a:solidFill>
            <a:schemeClr val="tx1"/>
          </a:solidFill>
          <a:latin typeface="+mn-lt"/>
          <a:ea typeface="+mn-ea"/>
          <a:cs typeface="+mn-cs"/>
        </a:defRPr>
      </a:lvl7pPr>
      <a:lvl8pPr marL="3613480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1897" kern="1200">
          <a:solidFill>
            <a:schemeClr val="tx1"/>
          </a:solidFill>
          <a:latin typeface="+mn-lt"/>
          <a:ea typeface="+mn-ea"/>
          <a:cs typeface="+mn-cs"/>
        </a:defRPr>
      </a:lvl8pPr>
      <a:lvl9pPr marL="4095278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18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1pPr>
      <a:lvl2pPr marL="481797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2pPr>
      <a:lvl3pPr marL="963595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3pPr>
      <a:lvl4pPr marL="1445392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4pPr>
      <a:lvl5pPr marL="1927189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5pPr>
      <a:lvl6pPr marL="2408987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6pPr>
      <a:lvl7pPr marL="2890784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7pPr>
      <a:lvl8pPr marL="3372582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8pPr>
      <a:lvl9pPr marL="3854379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9D9D46E4-AED8-4DA9-8B03-0C53B8B79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710" y="402483"/>
            <a:ext cx="9003983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5C59D64-EAE2-4661-BC25-FDEDC7D538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7710" y="2012414"/>
            <a:ext cx="9003983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EA12319-E2E0-4215-A1A4-0F7AF864D5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7709" y="7006699"/>
            <a:ext cx="2348865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6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D553612-D551-45FA-8840-936FD8F4F7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58052" y="7006699"/>
            <a:ext cx="352329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6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EA29539-50A7-441F-A355-DF45061707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72827" y="7006699"/>
            <a:ext cx="2348865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6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93700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hf hdr="0" ftr="0" dt="0"/>
  <p:txStyles>
    <p:titleStyle>
      <a:lvl1pPr algn="l" defTabSz="963595" rtl="0" eaLnBrk="1" latinLnBrk="1" hangingPunct="1">
        <a:lnSpc>
          <a:spcPct val="90000"/>
        </a:lnSpc>
        <a:spcBef>
          <a:spcPct val="0"/>
        </a:spcBef>
        <a:buNone/>
        <a:defRPr sz="463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0899" indent="-240899" algn="l" defTabSz="963595" rtl="0" eaLnBrk="1" latinLnBrk="1" hangingPunct="1">
        <a:lnSpc>
          <a:spcPct val="90000"/>
        </a:lnSpc>
        <a:spcBef>
          <a:spcPts val="1054"/>
        </a:spcBef>
        <a:buFont typeface="Arial" panose="020B0604020202020204" pitchFamily="34" charset="0"/>
        <a:buChar char="•"/>
        <a:defRPr sz="2951" kern="1200">
          <a:solidFill>
            <a:schemeClr val="tx1"/>
          </a:solidFill>
          <a:latin typeface="+mn-lt"/>
          <a:ea typeface="+mn-ea"/>
          <a:cs typeface="+mn-cs"/>
        </a:defRPr>
      </a:lvl1pPr>
      <a:lvl2pPr marL="722696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2529" kern="1200">
          <a:solidFill>
            <a:schemeClr val="tx1"/>
          </a:solidFill>
          <a:latin typeface="+mn-lt"/>
          <a:ea typeface="+mn-ea"/>
          <a:cs typeface="+mn-cs"/>
        </a:defRPr>
      </a:lvl2pPr>
      <a:lvl3pPr marL="1204493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2108" kern="1200">
          <a:solidFill>
            <a:schemeClr val="tx1"/>
          </a:solidFill>
          <a:latin typeface="+mn-lt"/>
          <a:ea typeface="+mn-ea"/>
          <a:cs typeface="+mn-cs"/>
        </a:defRPr>
      </a:lvl3pPr>
      <a:lvl4pPr marL="1686291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1897" kern="1200">
          <a:solidFill>
            <a:schemeClr val="tx1"/>
          </a:solidFill>
          <a:latin typeface="+mn-lt"/>
          <a:ea typeface="+mn-ea"/>
          <a:cs typeface="+mn-cs"/>
        </a:defRPr>
      </a:lvl4pPr>
      <a:lvl5pPr marL="2168088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1897" kern="1200">
          <a:solidFill>
            <a:schemeClr val="tx1"/>
          </a:solidFill>
          <a:latin typeface="+mn-lt"/>
          <a:ea typeface="+mn-ea"/>
          <a:cs typeface="+mn-cs"/>
        </a:defRPr>
      </a:lvl5pPr>
      <a:lvl6pPr marL="2649885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1897" kern="1200">
          <a:solidFill>
            <a:schemeClr val="tx1"/>
          </a:solidFill>
          <a:latin typeface="+mn-lt"/>
          <a:ea typeface="+mn-ea"/>
          <a:cs typeface="+mn-cs"/>
        </a:defRPr>
      </a:lvl6pPr>
      <a:lvl7pPr marL="3131683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1897" kern="1200">
          <a:solidFill>
            <a:schemeClr val="tx1"/>
          </a:solidFill>
          <a:latin typeface="+mn-lt"/>
          <a:ea typeface="+mn-ea"/>
          <a:cs typeface="+mn-cs"/>
        </a:defRPr>
      </a:lvl7pPr>
      <a:lvl8pPr marL="3613480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1897" kern="1200">
          <a:solidFill>
            <a:schemeClr val="tx1"/>
          </a:solidFill>
          <a:latin typeface="+mn-lt"/>
          <a:ea typeface="+mn-ea"/>
          <a:cs typeface="+mn-cs"/>
        </a:defRPr>
      </a:lvl8pPr>
      <a:lvl9pPr marL="4095278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18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1pPr>
      <a:lvl2pPr marL="481797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2pPr>
      <a:lvl3pPr marL="963595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3pPr>
      <a:lvl4pPr marL="1445392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4pPr>
      <a:lvl5pPr marL="1927189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5pPr>
      <a:lvl6pPr marL="2408987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6pPr>
      <a:lvl7pPr marL="2890784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7pPr>
      <a:lvl8pPr marL="3372582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8pPr>
      <a:lvl9pPr marL="3854379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부제목 6">
            <a:extLst>
              <a:ext uri="{FF2B5EF4-FFF2-40B4-BE49-F238E27FC236}">
                <a16:creationId xmlns:a16="http://schemas.microsoft.com/office/drawing/2014/main" id="{0CFA92CA-4998-4827-8DB4-8D94015BEE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ko-KR" altLang="en-US" dirty="0"/>
              <a:t>사용자 메뉴얼</a:t>
            </a:r>
          </a:p>
        </p:txBody>
      </p:sp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C3DB20F2-39D5-4AFC-A108-A7BA958EC4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2022.07.11</a:t>
            </a:r>
            <a:endParaRPr lang="ko-KR" altLang="en-US" dirty="0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C91E775-711F-4C05-8E0E-8BEEC4596F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ko-KR" dirty="0"/>
              <a:t>IT Helpdes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228189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A2E573C3-2E07-46DC-A484-81B345FA4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48389E4-9BF2-437B-83E2-FE8E6CF2D9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GUIDE-SEARCH-01</a:t>
            </a:r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94AC05BA-9838-4A6E-9C97-DDDB7EFEA7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통합 검색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A408AEDF-4BA1-43C2-805A-386A3C8862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379" y="1658939"/>
            <a:ext cx="6300773" cy="4131330"/>
          </a:xfrm>
          <a:prstGeom prst="rect">
            <a:avLst/>
          </a:prstGeom>
        </p:spPr>
      </p:pic>
      <p:sp>
        <p:nvSpPr>
          <p:cNvPr id="33" name="텍스트 개체 틀 25">
            <a:extLst>
              <a:ext uri="{FF2B5EF4-FFF2-40B4-BE49-F238E27FC236}">
                <a16:creationId xmlns:a16="http://schemas.microsoft.com/office/drawing/2014/main" id="{E19BB1BA-1464-422F-A9B9-E53C423A65CD}"/>
              </a:ext>
            </a:extLst>
          </p:cNvPr>
          <p:cNvSpPr txBox="1">
            <a:spLocks/>
          </p:cNvSpPr>
          <p:nvPr/>
        </p:nvSpPr>
        <p:spPr>
          <a:xfrm>
            <a:off x="7901463" y="671500"/>
            <a:ext cx="2371266" cy="6325146"/>
          </a:xfrm>
          <a:prstGeom prst="rect">
            <a:avLst/>
          </a:prstGeom>
        </p:spPr>
        <p:txBody>
          <a:bodyPr lIns="36000" tIns="46800" rIns="36000" bIns="46800">
            <a:noAutofit/>
          </a:bodyPr>
          <a:lstStyle>
            <a:lvl1pPr marL="0" indent="0" algn="l" defTabSz="963595" rtl="0" eaLnBrk="1" latinLnBrk="1" hangingPunct="1">
              <a:lnSpc>
                <a:spcPct val="110000"/>
              </a:lnSpc>
              <a:spcBef>
                <a:spcPts val="1054"/>
              </a:spcBef>
              <a:buFont typeface="Arial" pitchFamily="34" charset="0"/>
              <a:buNone/>
              <a:defRPr sz="8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82921" indent="-301123" algn="l" defTabSz="963595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9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4493" indent="-240899" algn="l" defTabSz="96359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52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86291" indent="-240899" algn="l" defTabSz="963595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1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68088" indent="-240899" algn="l" defTabSz="963595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1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49885" indent="-240899" algn="l" defTabSz="96359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1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31683" indent="-240899" algn="l" defTabSz="96359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1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13480" indent="-240899" algn="l" defTabSz="96359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1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278" indent="-240899" algn="l" defTabSz="96359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1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</a:pPr>
            <a:endParaRPr lang="en-US" altLang="ko-KR" dirty="0"/>
          </a:p>
        </p:txBody>
      </p:sp>
      <p:sp>
        <p:nvSpPr>
          <p:cNvPr id="39" name="텍스트 개체 틀 25">
            <a:extLst>
              <a:ext uri="{FF2B5EF4-FFF2-40B4-BE49-F238E27FC236}">
                <a16:creationId xmlns:a16="http://schemas.microsoft.com/office/drawing/2014/main" id="{DEAD7F63-35AC-4E79-9565-54C173B0D5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01463" y="671500"/>
            <a:ext cx="2371266" cy="6325146"/>
          </a:xfrm>
        </p:spPr>
        <p:txBody>
          <a:bodyPr/>
          <a:lstStyle/>
          <a:p>
            <a:r>
              <a:rPr lang="ko-KR" altLang="en-US" dirty="0"/>
              <a:t>검색어 입력창에 검색어를 입력하면 자동 완성 및 추천 기능으로 관련된 문서 컨텐츠의 제목이 보여집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</p:txBody>
      </p:sp>
      <p:sp>
        <p:nvSpPr>
          <p:cNvPr id="41" name="타원 40">
            <a:extLst>
              <a:ext uri="{FF2B5EF4-FFF2-40B4-BE49-F238E27FC236}">
                <a16:creationId xmlns:a16="http://schemas.microsoft.com/office/drawing/2014/main" id="{F871E8CE-CBFE-4920-9BE5-0FAEC4CAEB40}"/>
              </a:ext>
            </a:extLst>
          </p:cNvPr>
          <p:cNvSpPr/>
          <p:nvPr/>
        </p:nvSpPr>
        <p:spPr>
          <a:xfrm>
            <a:off x="7699880" y="76593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ECAF70A0-A3D1-4ECE-BF91-F3DE887C42D0}"/>
              </a:ext>
            </a:extLst>
          </p:cNvPr>
          <p:cNvSpPr/>
          <p:nvPr/>
        </p:nvSpPr>
        <p:spPr>
          <a:xfrm>
            <a:off x="2015408" y="3255573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A4FEA8A-FC55-4FBB-8D53-42825879C5FE}"/>
              </a:ext>
            </a:extLst>
          </p:cNvPr>
          <p:cNvSpPr txBox="1"/>
          <p:nvPr/>
        </p:nvSpPr>
        <p:spPr>
          <a:xfrm>
            <a:off x="128571" y="741166"/>
            <a:ext cx="7386921" cy="41274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Home </a:t>
            </a:r>
            <a:r>
              <a:rPr lang="ko-KR" altLang="en-US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화면의 통합 검색 영역에서 필요한 정보를 검색할 수 있습니다</a:t>
            </a:r>
            <a:r>
              <a:rPr lang="en-US" altLang="ko-KR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998265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텍스트 개체 틀 25">
            <a:extLst>
              <a:ext uri="{FF2B5EF4-FFF2-40B4-BE49-F238E27FC236}">
                <a16:creationId xmlns:a16="http://schemas.microsoft.com/office/drawing/2014/main" id="{DEAD7F63-35AC-4E79-9565-54C173B0D5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19603" y="671500"/>
            <a:ext cx="2371266" cy="6325146"/>
          </a:xfrm>
        </p:spPr>
        <p:txBody>
          <a:bodyPr/>
          <a:lstStyle/>
          <a:p>
            <a:r>
              <a:rPr lang="en-US" altLang="ko-KR" dirty="0"/>
              <a:t>(</a:t>
            </a:r>
            <a:r>
              <a:rPr lang="ko-KR" altLang="en-US" dirty="0"/>
              <a:t>검색어 예시</a:t>
            </a:r>
            <a:r>
              <a:rPr lang="en-US" altLang="ko-KR" dirty="0"/>
              <a:t>: AP-ON)</a:t>
            </a:r>
          </a:p>
          <a:p>
            <a:r>
              <a:rPr lang="ko-KR" altLang="en-US" dirty="0"/>
              <a:t>통합 검색 결과가 </a:t>
            </a:r>
            <a:r>
              <a:rPr lang="ko-KR" altLang="en-US" dirty="0" err="1"/>
              <a:t>문서별</a:t>
            </a:r>
            <a:r>
              <a:rPr lang="en-US" altLang="ko-KR" dirty="0"/>
              <a:t>, </a:t>
            </a:r>
            <a:r>
              <a:rPr lang="ko-KR" altLang="en-US" dirty="0"/>
              <a:t>서비스</a:t>
            </a:r>
            <a:r>
              <a:rPr lang="en-US" altLang="ko-KR" dirty="0"/>
              <a:t>/</a:t>
            </a:r>
            <a:r>
              <a:rPr lang="ko-KR" altLang="en-US" dirty="0" err="1"/>
              <a:t>어플리케이션별로</a:t>
            </a:r>
            <a:r>
              <a:rPr lang="ko-KR" altLang="en-US" dirty="0"/>
              <a:t> 보여집니다</a:t>
            </a:r>
            <a:r>
              <a:rPr lang="en-US" altLang="ko-KR" dirty="0"/>
              <a:t>.</a:t>
            </a:r>
          </a:p>
          <a:p>
            <a:pPr>
              <a:spcBef>
                <a:spcPts val="200"/>
              </a:spcBef>
            </a:pPr>
            <a:r>
              <a:rPr lang="ko-KR" altLang="en-US" dirty="0"/>
              <a:t>제목을 클릭하면 해당 문서의 내용보기 화면으로 이동됩니다</a:t>
            </a:r>
            <a:r>
              <a:rPr lang="en-US" altLang="ko-KR" dirty="0"/>
              <a:t>. (GUIDE-HOME-05</a:t>
            </a:r>
            <a:r>
              <a:rPr lang="ko-KR" altLang="en-US" dirty="0"/>
              <a:t> 참조</a:t>
            </a:r>
            <a:r>
              <a:rPr lang="en-US" altLang="ko-KR" dirty="0"/>
              <a:t>)</a:t>
            </a:r>
          </a:p>
          <a:p>
            <a:r>
              <a:rPr lang="ko-KR" altLang="en-US" dirty="0"/>
              <a:t>서비스</a:t>
            </a:r>
            <a:r>
              <a:rPr lang="en-US" altLang="ko-KR" dirty="0"/>
              <a:t>/</a:t>
            </a:r>
            <a:r>
              <a:rPr lang="ko-KR" altLang="en-US" dirty="0"/>
              <a:t>어플리케이션의 경우 </a:t>
            </a:r>
            <a:r>
              <a:rPr lang="en-US" altLang="ko-KR" dirty="0"/>
              <a:t>“</a:t>
            </a:r>
            <a:r>
              <a:rPr lang="ko-KR" altLang="en-US" dirty="0"/>
              <a:t>문의등록＂ 버튼이 함께 보여지고</a:t>
            </a:r>
            <a:r>
              <a:rPr lang="en-US" altLang="ko-KR" dirty="0"/>
              <a:t>, </a:t>
            </a:r>
            <a:r>
              <a:rPr lang="ko-KR" altLang="en-US" dirty="0"/>
              <a:t>버튼을 클릭하면 </a:t>
            </a:r>
            <a:r>
              <a:rPr lang="en-US" altLang="ko-KR" dirty="0"/>
              <a:t>“</a:t>
            </a:r>
            <a:r>
              <a:rPr lang="ko-KR" altLang="en-US" dirty="0"/>
              <a:t>일반 문의＂ 화면으로 이동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통합 검색의 </a:t>
            </a:r>
            <a:r>
              <a:rPr lang="ko-KR" altLang="en-US" dirty="0" err="1"/>
              <a:t>결과갸</a:t>
            </a:r>
            <a:r>
              <a:rPr lang="ko-KR" altLang="en-US" dirty="0"/>
              <a:t> 전체</a:t>
            </a:r>
            <a:r>
              <a:rPr lang="en-US" altLang="ko-KR" dirty="0"/>
              <a:t>, </a:t>
            </a:r>
            <a:r>
              <a:rPr lang="ko-KR" altLang="en-US" dirty="0" err="1"/>
              <a:t>문서별</a:t>
            </a:r>
            <a:r>
              <a:rPr lang="en-US" altLang="ko-KR" dirty="0"/>
              <a:t>, </a:t>
            </a:r>
            <a:r>
              <a:rPr lang="ko-KR" altLang="en-US" dirty="0"/>
              <a:t>서비스</a:t>
            </a:r>
            <a:r>
              <a:rPr lang="en-US" altLang="ko-KR" dirty="0"/>
              <a:t>/</a:t>
            </a:r>
            <a:r>
              <a:rPr lang="ko-KR" altLang="en-US" dirty="0" err="1"/>
              <a:t>어플리케이션별로</a:t>
            </a:r>
            <a:r>
              <a:rPr lang="ko-KR" altLang="en-US" dirty="0"/>
              <a:t> 몇 개인지 보여지고 유형 제목을 클릭하면 선택한 유형의 결과만 보여집니다</a:t>
            </a:r>
            <a:r>
              <a:rPr lang="en-US" altLang="ko-KR" dirty="0"/>
              <a:t>.</a:t>
            </a: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A2E573C3-2E07-46DC-A484-81B345FA4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48389E4-9BF2-437B-83E2-FE8E6CF2D9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GUIDE-SEARCH-02</a:t>
            </a:r>
            <a:endParaRPr lang="ko-KR" altLang="en-US" dirty="0"/>
          </a:p>
          <a:p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94AC05BA-9838-4A6E-9C97-DDDB7EFEA7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통합 검색 결과 보기</a:t>
            </a:r>
          </a:p>
        </p:txBody>
      </p:sp>
      <p:sp>
        <p:nvSpPr>
          <p:cNvPr id="33" name="텍스트 개체 틀 25">
            <a:extLst>
              <a:ext uri="{FF2B5EF4-FFF2-40B4-BE49-F238E27FC236}">
                <a16:creationId xmlns:a16="http://schemas.microsoft.com/office/drawing/2014/main" id="{E19BB1BA-1464-422F-A9B9-E53C423A65CD}"/>
              </a:ext>
            </a:extLst>
          </p:cNvPr>
          <p:cNvSpPr txBox="1">
            <a:spLocks/>
          </p:cNvSpPr>
          <p:nvPr/>
        </p:nvSpPr>
        <p:spPr>
          <a:xfrm>
            <a:off x="7901463" y="671500"/>
            <a:ext cx="2371266" cy="6325146"/>
          </a:xfrm>
          <a:prstGeom prst="rect">
            <a:avLst/>
          </a:prstGeom>
        </p:spPr>
        <p:txBody>
          <a:bodyPr lIns="36000" tIns="46800" rIns="36000" bIns="46800">
            <a:noAutofit/>
          </a:bodyPr>
          <a:lstStyle>
            <a:lvl1pPr marL="0" indent="0" algn="l" defTabSz="963595" rtl="0" eaLnBrk="1" latinLnBrk="1" hangingPunct="1">
              <a:lnSpc>
                <a:spcPct val="110000"/>
              </a:lnSpc>
              <a:spcBef>
                <a:spcPts val="1054"/>
              </a:spcBef>
              <a:buFont typeface="Arial" pitchFamily="34" charset="0"/>
              <a:buNone/>
              <a:defRPr sz="8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82921" indent="-301123" algn="l" defTabSz="963595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9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4493" indent="-240899" algn="l" defTabSz="96359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52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86291" indent="-240899" algn="l" defTabSz="963595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1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68088" indent="-240899" algn="l" defTabSz="963595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1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49885" indent="-240899" algn="l" defTabSz="96359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1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31683" indent="-240899" algn="l" defTabSz="96359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1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13480" indent="-240899" algn="l" defTabSz="96359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1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278" indent="-240899" algn="l" defTabSz="96359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1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</a:pPr>
            <a:endParaRPr lang="en-US" altLang="ko-KR" dirty="0"/>
          </a:p>
        </p:txBody>
      </p:sp>
      <p:cxnSp>
        <p:nvCxnSpPr>
          <p:cNvPr id="34" name="직선 연결선 33">
            <a:extLst>
              <a:ext uri="{FF2B5EF4-FFF2-40B4-BE49-F238E27FC236}">
                <a16:creationId xmlns:a16="http://schemas.microsoft.com/office/drawing/2014/main" id="{B45D2D42-F890-407E-9F8F-CE06C019F6D5}"/>
              </a:ext>
            </a:extLst>
          </p:cNvPr>
          <p:cNvCxnSpPr>
            <a:cxnSpLocks/>
          </p:cNvCxnSpPr>
          <p:nvPr/>
        </p:nvCxnSpPr>
        <p:spPr>
          <a:xfrm>
            <a:off x="7617528" y="1630870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타원 39">
            <a:extLst>
              <a:ext uri="{FF2B5EF4-FFF2-40B4-BE49-F238E27FC236}">
                <a16:creationId xmlns:a16="http://schemas.microsoft.com/office/drawing/2014/main" id="{3199BF7B-70C1-4526-B895-C2AD494E4609}"/>
              </a:ext>
            </a:extLst>
          </p:cNvPr>
          <p:cNvSpPr/>
          <p:nvPr/>
        </p:nvSpPr>
        <p:spPr>
          <a:xfrm>
            <a:off x="7692400" y="1746329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41" name="타원 40">
            <a:extLst>
              <a:ext uri="{FF2B5EF4-FFF2-40B4-BE49-F238E27FC236}">
                <a16:creationId xmlns:a16="http://schemas.microsoft.com/office/drawing/2014/main" id="{F871E8CE-CBFE-4920-9BE5-0FAEC4CAEB40}"/>
              </a:ext>
            </a:extLst>
          </p:cNvPr>
          <p:cNvSpPr/>
          <p:nvPr/>
        </p:nvSpPr>
        <p:spPr>
          <a:xfrm>
            <a:off x="7682572" y="1024273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pic>
        <p:nvPicPr>
          <p:cNvPr id="45058" name="Picture 2">
            <a:extLst>
              <a:ext uri="{FF2B5EF4-FFF2-40B4-BE49-F238E27FC236}">
                <a16:creationId xmlns:a16="http://schemas.microsoft.com/office/drawing/2014/main" id="{6DF8CBE4-D9F4-434E-8F2F-8AE70396C4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75" t="4108" r="21989" b="4395"/>
          <a:stretch/>
        </p:blipFill>
        <p:spPr bwMode="auto">
          <a:xfrm>
            <a:off x="428624" y="925514"/>
            <a:ext cx="6267451" cy="6035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타원 16">
            <a:extLst>
              <a:ext uri="{FF2B5EF4-FFF2-40B4-BE49-F238E27FC236}">
                <a16:creationId xmlns:a16="http://schemas.microsoft.com/office/drawing/2014/main" id="{607621F4-6B04-480B-9016-EDC9160A9A27}"/>
              </a:ext>
            </a:extLst>
          </p:cNvPr>
          <p:cNvSpPr/>
          <p:nvPr/>
        </p:nvSpPr>
        <p:spPr>
          <a:xfrm>
            <a:off x="1318141" y="1564721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18" name="타원 17">
            <a:extLst>
              <a:ext uri="{FF2B5EF4-FFF2-40B4-BE49-F238E27FC236}">
                <a16:creationId xmlns:a16="http://schemas.microsoft.com/office/drawing/2014/main" id="{21F613DB-C73E-4F39-9C21-6741A59CF0AE}"/>
              </a:ext>
            </a:extLst>
          </p:cNvPr>
          <p:cNvSpPr/>
          <p:nvPr/>
        </p:nvSpPr>
        <p:spPr>
          <a:xfrm>
            <a:off x="2463671" y="1564721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4866308E-4142-42DF-B352-E446D2CBFF70}"/>
              </a:ext>
            </a:extLst>
          </p:cNvPr>
          <p:cNvSpPr/>
          <p:nvPr/>
        </p:nvSpPr>
        <p:spPr>
          <a:xfrm>
            <a:off x="2382820" y="1641237"/>
            <a:ext cx="4331395" cy="5319543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사각형: 둥근 모서리 14">
            <a:extLst>
              <a:ext uri="{FF2B5EF4-FFF2-40B4-BE49-F238E27FC236}">
                <a16:creationId xmlns:a16="http://schemas.microsoft.com/office/drawing/2014/main" id="{B22568E4-BC45-4308-8310-047F255EC5AB}"/>
              </a:ext>
            </a:extLst>
          </p:cNvPr>
          <p:cNvSpPr/>
          <p:nvPr/>
        </p:nvSpPr>
        <p:spPr>
          <a:xfrm>
            <a:off x="1194382" y="1641238"/>
            <a:ext cx="1053518" cy="959088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타원 18">
            <a:extLst>
              <a:ext uri="{FF2B5EF4-FFF2-40B4-BE49-F238E27FC236}">
                <a16:creationId xmlns:a16="http://schemas.microsoft.com/office/drawing/2014/main" id="{C1F639C1-89E1-490F-891D-445D7918721A}"/>
              </a:ext>
            </a:extLst>
          </p:cNvPr>
          <p:cNvSpPr/>
          <p:nvPr/>
        </p:nvSpPr>
        <p:spPr>
          <a:xfrm>
            <a:off x="3215650" y="5266397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20" name="직선 연결선 19">
            <a:extLst>
              <a:ext uri="{FF2B5EF4-FFF2-40B4-BE49-F238E27FC236}">
                <a16:creationId xmlns:a16="http://schemas.microsoft.com/office/drawing/2014/main" id="{E512999B-C6B2-4F9F-A9FE-57545CE01175}"/>
              </a:ext>
            </a:extLst>
          </p:cNvPr>
          <p:cNvCxnSpPr>
            <a:cxnSpLocks/>
          </p:cNvCxnSpPr>
          <p:nvPr/>
        </p:nvCxnSpPr>
        <p:spPr>
          <a:xfrm>
            <a:off x="7617528" y="2188084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타원 20">
            <a:extLst>
              <a:ext uri="{FF2B5EF4-FFF2-40B4-BE49-F238E27FC236}">
                <a16:creationId xmlns:a16="http://schemas.microsoft.com/office/drawing/2014/main" id="{C55D1452-2AA9-40B1-886B-9B8E8691B7E8}"/>
              </a:ext>
            </a:extLst>
          </p:cNvPr>
          <p:cNvSpPr/>
          <p:nvPr/>
        </p:nvSpPr>
        <p:spPr>
          <a:xfrm>
            <a:off x="7692400" y="2303543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301692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A2E573C3-2E07-46DC-A484-81B345FA4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48389E4-9BF2-437B-83E2-FE8E6CF2D9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GUIDE-REQUEST-01</a:t>
            </a:r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94AC05BA-9838-4A6E-9C97-DDDB7EFEA7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서비스 요청</a:t>
            </a:r>
          </a:p>
        </p:txBody>
      </p:sp>
      <p:sp>
        <p:nvSpPr>
          <p:cNvPr id="45" name="텍스트 개체 틀 25">
            <a:extLst>
              <a:ext uri="{FF2B5EF4-FFF2-40B4-BE49-F238E27FC236}">
                <a16:creationId xmlns:a16="http://schemas.microsoft.com/office/drawing/2014/main" id="{D6608DD2-183F-4BB9-A9B4-10047D29D1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01463" y="671500"/>
            <a:ext cx="2371266" cy="6325146"/>
          </a:xfrm>
        </p:spPr>
        <p:txBody>
          <a:bodyPr/>
          <a:lstStyle/>
          <a:p>
            <a:r>
              <a:rPr lang="ko-KR" altLang="en-US" dirty="0"/>
              <a:t>서비스 요청 유형을 선택합니다</a:t>
            </a:r>
            <a:r>
              <a:rPr lang="en-US" altLang="ko-KR" dirty="0"/>
              <a:t>. </a:t>
            </a:r>
            <a:r>
              <a:rPr lang="ko-KR" altLang="en-US" dirty="0"/>
              <a:t>요청 유형별로 보여지는 항목이 다르게 나타납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일반 문의</a:t>
            </a:r>
            <a:r>
              <a:rPr lang="en-US" altLang="ko-KR" dirty="0"/>
              <a:t>: IT</a:t>
            </a:r>
            <a:r>
              <a:rPr lang="ko-KR" altLang="en-US" dirty="0"/>
              <a:t> 서비스 사용 방법</a:t>
            </a:r>
            <a:r>
              <a:rPr lang="en-US" altLang="ko-KR" dirty="0"/>
              <a:t>, </a:t>
            </a:r>
            <a:r>
              <a:rPr lang="ko-KR" altLang="en-US" dirty="0"/>
              <a:t>간단한 오류 등에 대한 문의가 필요한 경우</a:t>
            </a:r>
            <a:endParaRPr lang="en-US" altLang="ko-KR" dirty="0"/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개발 요청</a:t>
            </a:r>
            <a:r>
              <a:rPr lang="en-US" altLang="ko-KR" dirty="0"/>
              <a:t>: </a:t>
            </a:r>
            <a:r>
              <a:rPr lang="ko-KR" altLang="en-US" dirty="0"/>
              <a:t>사용자 편의 또는 제도 변경으로 프로그램 변경이 필요한 경우</a:t>
            </a:r>
            <a:endParaRPr lang="en-US" altLang="ko-KR" dirty="0"/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데이터 요청</a:t>
            </a:r>
            <a:r>
              <a:rPr lang="en-US" altLang="ko-KR" dirty="0"/>
              <a:t>: </a:t>
            </a:r>
            <a:r>
              <a:rPr lang="ko-KR" altLang="en-US" dirty="0"/>
              <a:t>대량 데이터 추출</a:t>
            </a:r>
            <a:r>
              <a:rPr lang="en-US" altLang="ko-KR" dirty="0"/>
              <a:t> </a:t>
            </a:r>
            <a:r>
              <a:rPr lang="ko-KR" altLang="en-US" dirty="0"/>
              <a:t>및 수정이 필요한 경우</a:t>
            </a:r>
            <a:endParaRPr lang="en-US" altLang="ko-KR" dirty="0"/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altLang="ko-KR" dirty="0"/>
              <a:t>IT</a:t>
            </a:r>
            <a:r>
              <a:rPr lang="ko-KR" altLang="en-US" dirty="0"/>
              <a:t> 기기신청</a:t>
            </a:r>
            <a:r>
              <a:rPr lang="en-US" altLang="ko-KR" dirty="0"/>
              <a:t>: </a:t>
            </a:r>
            <a:r>
              <a:rPr lang="ko-KR" altLang="en-US" dirty="0"/>
              <a:t>노트북</a:t>
            </a:r>
            <a:r>
              <a:rPr lang="en-US" altLang="ko-KR" dirty="0"/>
              <a:t>, </a:t>
            </a:r>
            <a:r>
              <a:rPr lang="ko-KR" altLang="en-US" dirty="0" err="1"/>
              <a:t>데이크탑</a:t>
            </a:r>
            <a:r>
              <a:rPr lang="ko-KR" altLang="en-US" dirty="0"/>
              <a:t> 등 </a:t>
            </a:r>
            <a:r>
              <a:rPr lang="en-US" altLang="ko-KR" dirty="0"/>
              <a:t>IT </a:t>
            </a:r>
            <a:r>
              <a:rPr lang="ko-KR" altLang="en-US" dirty="0"/>
              <a:t>장비 신청과 반납 필요한 경우</a:t>
            </a:r>
            <a:endParaRPr lang="en-US" altLang="ko-KR" dirty="0"/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네트워크 요청</a:t>
            </a:r>
            <a:r>
              <a:rPr lang="en-US" altLang="ko-KR" dirty="0"/>
              <a:t>: </a:t>
            </a:r>
            <a:r>
              <a:rPr lang="ko-KR" altLang="en-US" dirty="0"/>
              <a:t>신규 네트워크 신청 및 변경 작업 필요한 경우</a:t>
            </a:r>
            <a:endParaRPr lang="en-US" altLang="ko-KR" dirty="0"/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장애</a:t>
            </a:r>
            <a:r>
              <a:rPr lang="en-US" altLang="ko-KR" dirty="0"/>
              <a:t>: </a:t>
            </a:r>
            <a:r>
              <a:rPr lang="ko-KR" altLang="en-US" dirty="0"/>
              <a:t>시스템을 통한 업무 수행이 어려워 빠른 조치가 필요한 경우</a:t>
            </a:r>
            <a:endParaRPr lang="en-US" altLang="ko-KR" dirty="0"/>
          </a:p>
          <a:p>
            <a:r>
              <a:rPr lang="en-US" altLang="ko-KR" dirty="0"/>
              <a:t>[</a:t>
            </a:r>
            <a:r>
              <a:rPr lang="ko-KR" altLang="en-US" dirty="0"/>
              <a:t>필수</a:t>
            </a:r>
            <a:r>
              <a:rPr lang="en-US" altLang="ko-KR" dirty="0"/>
              <a:t>] </a:t>
            </a:r>
            <a:r>
              <a:rPr lang="ko-KR" altLang="en-US" dirty="0"/>
              <a:t>서비스를 요청하는 시스템을 검색하여 선택합니다</a:t>
            </a:r>
            <a:r>
              <a:rPr lang="en-US" altLang="ko-KR" dirty="0"/>
              <a:t>. </a:t>
            </a:r>
            <a:r>
              <a:rPr lang="ko-KR" altLang="en-US" dirty="0"/>
              <a:t>입력창이나 검색 버튼을 클릭하면 서비스</a:t>
            </a:r>
            <a:r>
              <a:rPr lang="en-US" altLang="ko-KR" dirty="0"/>
              <a:t>/</a:t>
            </a:r>
            <a:r>
              <a:rPr lang="ko-KR" altLang="en-US" dirty="0"/>
              <a:t>어플리케이션을 검색할 수 있는 화면이 보여집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[</a:t>
            </a:r>
            <a:r>
              <a:rPr lang="ko-KR" altLang="en-US" dirty="0"/>
              <a:t>필수</a:t>
            </a:r>
            <a:r>
              <a:rPr lang="en-US" altLang="ko-KR" dirty="0"/>
              <a:t>/</a:t>
            </a:r>
            <a:r>
              <a:rPr lang="ko-KR" altLang="en-US" dirty="0"/>
              <a:t>공통</a:t>
            </a:r>
            <a:r>
              <a:rPr lang="en-US" altLang="ko-KR" dirty="0"/>
              <a:t>] </a:t>
            </a:r>
            <a:r>
              <a:rPr lang="ko-KR" altLang="en-US" dirty="0"/>
              <a:t>제목과 설명을 입력합니다</a:t>
            </a:r>
            <a:r>
              <a:rPr lang="en-US" altLang="ko-KR" dirty="0"/>
              <a:t>. </a:t>
            </a:r>
            <a:r>
              <a:rPr lang="ko-KR" altLang="en-US" dirty="0"/>
              <a:t>모든 요청화면에서 동일한 항목이 보여집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[</a:t>
            </a:r>
            <a:r>
              <a:rPr lang="ko-KR" altLang="en-US" dirty="0"/>
              <a:t>선택</a:t>
            </a:r>
            <a:r>
              <a:rPr lang="en-US" altLang="ko-KR" dirty="0"/>
              <a:t>/</a:t>
            </a:r>
            <a:r>
              <a:rPr lang="ko-KR" altLang="en-US" dirty="0"/>
              <a:t>공통</a:t>
            </a:r>
            <a:r>
              <a:rPr lang="en-US" altLang="ko-KR" dirty="0"/>
              <a:t>] </a:t>
            </a:r>
            <a:r>
              <a:rPr lang="ko-KR" altLang="en-US" dirty="0"/>
              <a:t>모든 요청화면에서 동일한 항목이 보여집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사용자가 신청하는 요청에 대하여 참조가 필요한 참조자를 지정합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서비스 요청에 대한 희망 완료일을 지정합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사용자가 신청하는 요청에 대하여 실 요청자가 다른 경우 지정합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참조할 파일이 있는 경우 추가하여 첨부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제출 버튼을 클릭하여 서비스 요청을 등록합니다</a:t>
            </a:r>
            <a:r>
              <a:rPr lang="en-US" altLang="ko-KR" dirty="0"/>
              <a:t>.</a:t>
            </a: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E9F120D1-FD4A-4145-93E4-4D4CF6EC9BD2}"/>
              </a:ext>
            </a:extLst>
          </p:cNvPr>
          <p:cNvGrpSpPr/>
          <p:nvPr/>
        </p:nvGrpSpPr>
        <p:grpSpPr>
          <a:xfrm>
            <a:off x="351399" y="840876"/>
            <a:ext cx="3951852" cy="6168962"/>
            <a:chOff x="271012" y="845214"/>
            <a:chExt cx="3951852" cy="6168962"/>
          </a:xfrm>
        </p:grpSpPr>
        <p:pic>
          <p:nvPicPr>
            <p:cNvPr id="6" name="그림 5">
              <a:extLst>
                <a:ext uri="{FF2B5EF4-FFF2-40B4-BE49-F238E27FC236}">
                  <a16:creationId xmlns:a16="http://schemas.microsoft.com/office/drawing/2014/main" id="{6656964F-4759-48A0-8498-2941220E62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74370" y="845214"/>
              <a:ext cx="3948494" cy="3581400"/>
            </a:xfrm>
            <a:prstGeom prst="rect">
              <a:avLst/>
            </a:prstGeom>
          </p:spPr>
        </p:pic>
        <p:pic>
          <p:nvPicPr>
            <p:cNvPr id="7" name="그림 6">
              <a:extLst>
                <a:ext uri="{FF2B5EF4-FFF2-40B4-BE49-F238E27FC236}">
                  <a16:creationId xmlns:a16="http://schemas.microsoft.com/office/drawing/2014/main" id="{C62593A7-D461-4C3E-B88D-F5C8784A054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1012" y="4426614"/>
              <a:ext cx="3917156" cy="2587562"/>
            </a:xfrm>
            <a:prstGeom prst="rect">
              <a:avLst/>
            </a:prstGeom>
          </p:spPr>
        </p:pic>
      </p:grpSp>
      <p:sp>
        <p:nvSpPr>
          <p:cNvPr id="37" name="사각형: 둥근 모서리 36">
            <a:extLst>
              <a:ext uri="{FF2B5EF4-FFF2-40B4-BE49-F238E27FC236}">
                <a16:creationId xmlns:a16="http://schemas.microsoft.com/office/drawing/2014/main" id="{EC2A282A-C6BB-4D3D-A489-DA75C3EAC5CA}"/>
              </a:ext>
            </a:extLst>
          </p:cNvPr>
          <p:cNvSpPr/>
          <p:nvPr/>
        </p:nvSpPr>
        <p:spPr>
          <a:xfrm>
            <a:off x="351399" y="1279497"/>
            <a:ext cx="3917156" cy="478965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8" name="사각형: 둥근 모서리 37">
            <a:extLst>
              <a:ext uri="{FF2B5EF4-FFF2-40B4-BE49-F238E27FC236}">
                <a16:creationId xmlns:a16="http://schemas.microsoft.com/office/drawing/2014/main" id="{88A2BD3B-1128-4170-8A18-94A5432A8639}"/>
              </a:ext>
            </a:extLst>
          </p:cNvPr>
          <p:cNvSpPr/>
          <p:nvPr/>
        </p:nvSpPr>
        <p:spPr>
          <a:xfrm>
            <a:off x="351399" y="1798654"/>
            <a:ext cx="3917156" cy="499061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9" name="사각형: 둥근 모서리 38">
            <a:extLst>
              <a:ext uri="{FF2B5EF4-FFF2-40B4-BE49-F238E27FC236}">
                <a16:creationId xmlns:a16="http://schemas.microsoft.com/office/drawing/2014/main" id="{2DE24DFB-A4E2-47A4-A286-D05E73DD62A8}"/>
              </a:ext>
            </a:extLst>
          </p:cNvPr>
          <p:cNvSpPr/>
          <p:nvPr/>
        </p:nvSpPr>
        <p:spPr>
          <a:xfrm>
            <a:off x="351399" y="2337907"/>
            <a:ext cx="3917156" cy="2084369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0B4462CD-E806-4528-9160-A1478147FEBE}"/>
              </a:ext>
            </a:extLst>
          </p:cNvPr>
          <p:cNvSpPr/>
          <p:nvPr/>
        </p:nvSpPr>
        <p:spPr>
          <a:xfrm>
            <a:off x="351399" y="4462468"/>
            <a:ext cx="3917156" cy="2139299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BB9EF7BE-5B41-42AF-A0D5-D6979BA47CD4}"/>
              </a:ext>
            </a:extLst>
          </p:cNvPr>
          <p:cNvSpPr/>
          <p:nvPr/>
        </p:nvSpPr>
        <p:spPr>
          <a:xfrm>
            <a:off x="273204" y="1189168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49" name="타원 48">
            <a:extLst>
              <a:ext uri="{FF2B5EF4-FFF2-40B4-BE49-F238E27FC236}">
                <a16:creationId xmlns:a16="http://schemas.microsoft.com/office/drawing/2014/main" id="{5721B01B-D364-483F-B21C-BF68A0CC65EF}"/>
              </a:ext>
            </a:extLst>
          </p:cNvPr>
          <p:cNvSpPr/>
          <p:nvPr/>
        </p:nvSpPr>
        <p:spPr>
          <a:xfrm>
            <a:off x="280965" y="1801793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50" name="타원 49">
            <a:extLst>
              <a:ext uri="{FF2B5EF4-FFF2-40B4-BE49-F238E27FC236}">
                <a16:creationId xmlns:a16="http://schemas.microsoft.com/office/drawing/2014/main" id="{564AE9D5-2902-4AB3-8546-ACB79E6A9243}"/>
              </a:ext>
            </a:extLst>
          </p:cNvPr>
          <p:cNvSpPr/>
          <p:nvPr/>
        </p:nvSpPr>
        <p:spPr>
          <a:xfrm>
            <a:off x="268360" y="2392644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52" name="타원 51">
            <a:extLst>
              <a:ext uri="{FF2B5EF4-FFF2-40B4-BE49-F238E27FC236}">
                <a16:creationId xmlns:a16="http://schemas.microsoft.com/office/drawing/2014/main" id="{A2276E95-4EDA-4988-9757-3328EFD96C39}"/>
              </a:ext>
            </a:extLst>
          </p:cNvPr>
          <p:cNvSpPr/>
          <p:nvPr/>
        </p:nvSpPr>
        <p:spPr>
          <a:xfrm>
            <a:off x="268360" y="4477013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53" name="타원 52">
            <a:extLst>
              <a:ext uri="{FF2B5EF4-FFF2-40B4-BE49-F238E27FC236}">
                <a16:creationId xmlns:a16="http://schemas.microsoft.com/office/drawing/2014/main" id="{C2B7E5B2-95D2-4977-9363-BB8000E70349}"/>
              </a:ext>
            </a:extLst>
          </p:cNvPr>
          <p:cNvSpPr/>
          <p:nvPr/>
        </p:nvSpPr>
        <p:spPr>
          <a:xfrm>
            <a:off x="1682890" y="6718799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5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51C130B1-E1B6-4CF5-B9FE-5F548FC3AE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35044" y="1327594"/>
            <a:ext cx="2977039" cy="194024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2" name="화살표: 오른쪽 11">
            <a:extLst>
              <a:ext uri="{FF2B5EF4-FFF2-40B4-BE49-F238E27FC236}">
                <a16:creationId xmlns:a16="http://schemas.microsoft.com/office/drawing/2014/main" id="{123C0253-F360-494B-B906-FB30721259A5}"/>
              </a:ext>
            </a:extLst>
          </p:cNvPr>
          <p:cNvSpPr/>
          <p:nvPr/>
        </p:nvSpPr>
        <p:spPr>
          <a:xfrm>
            <a:off x="4149969" y="1954825"/>
            <a:ext cx="250379" cy="153032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cxnSp>
        <p:nvCxnSpPr>
          <p:cNvPr id="57" name="직선 연결선 56">
            <a:extLst>
              <a:ext uri="{FF2B5EF4-FFF2-40B4-BE49-F238E27FC236}">
                <a16:creationId xmlns:a16="http://schemas.microsoft.com/office/drawing/2014/main" id="{694C5368-ECC4-4A82-BCDB-E3027A7B509B}"/>
              </a:ext>
            </a:extLst>
          </p:cNvPr>
          <p:cNvCxnSpPr>
            <a:cxnSpLocks/>
          </p:cNvCxnSpPr>
          <p:nvPr/>
        </p:nvCxnSpPr>
        <p:spPr>
          <a:xfrm>
            <a:off x="7627576" y="2871372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타원 57">
            <a:extLst>
              <a:ext uri="{FF2B5EF4-FFF2-40B4-BE49-F238E27FC236}">
                <a16:creationId xmlns:a16="http://schemas.microsoft.com/office/drawing/2014/main" id="{21BB2DB5-5B4D-48A6-8136-61BD5D06A01E}"/>
              </a:ext>
            </a:extLst>
          </p:cNvPr>
          <p:cNvSpPr/>
          <p:nvPr/>
        </p:nvSpPr>
        <p:spPr>
          <a:xfrm>
            <a:off x="7692400" y="76436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60" name="타원 59">
            <a:extLst>
              <a:ext uri="{FF2B5EF4-FFF2-40B4-BE49-F238E27FC236}">
                <a16:creationId xmlns:a16="http://schemas.microsoft.com/office/drawing/2014/main" id="{DBB26A6B-DA24-4477-8025-278606E9F3FD}"/>
              </a:ext>
            </a:extLst>
          </p:cNvPr>
          <p:cNvSpPr/>
          <p:nvPr/>
        </p:nvSpPr>
        <p:spPr>
          <a:xfrm>
            <a:off x="7683367" y="2964232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61" name="직선 연결선 60">
            <a:extLst>
              <a:ext uri="{FF2B5EF4-FFF2-40B4-BE49-F238E27FC236}">
                <a16:creationId xmlns:a16="http://schemas.microsoft.com/office/drawing/2014/main" id="{D3EF3F10-471A-4979-BCE4-1DCD41E488A1}"/>
              </a:ext>
            </a:extLst>
          </p:cNvPr>
          <p:cNvCxnSpPr>
            <a:cxnSpLocks/>
          </p:cNvCxnSpPr>
          <p:nvPr/>
        </p:nvCxnSpPr>
        <p:spPr>
          <a:xfrm>
            <a:off x="7636609" y="3610461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타원 61">
            <a:extLst>
              <a:ext uri="{FF2B5EF4-FFF2-40B4-BE49-F238E27FC236}">
                <a16:creationId xmlns:a16="http://schemas.microsoft.com/office/drawing/2014/main" id="{3B6FF236-8D28-40D2-9185-1E48311A9B5B}"/>
              </a:ext>
            </a:extLst>
          </p:cNvPr>
          <p:cNvSpPr/>
          <p:nvPr/>
        </p:nvSpPr>
        <p:spPr>
          <a:xfrm>
            <a:off x="7692400" y="3703321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63" name="직선 연결선 62">
            <a:extLst>
              <a:ext uri="{FF2B5EF4-FFF2-40B4-BE49-F238E27FC236}">
                <a16:creationId xmlns:a16="http://schemas.microsoft.com/office/drawing/2014/main" id="{88C2A627-DCFF-4A75-B241-29FC777BB8EE}"/>
              </a:ext>
            </a:extLst>
          </p:cNvPr>
          <p:cNvCxnSpPr>
            <a:cxnSpLocks/>
          </p:cNvCxnSpPr>
          <p:nvPr/>
        </p:nvCxnSpPr>
        <p:spPr>
          <a:xfrm>
            <a:off x="7636609" y="3995639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타원 76">
            <a:extLst>
              <a:ext uri="{FF2B5EF4-FFF2-40B4-BE49-F238E27FC236}">
                <a16:creationId xmlns:a16="http://schemas.microsoft.com/office/drawing/2014/main" id="{0FD9E35A-3E11-4310-98A7-D9045DC5B2A2}"/>
              </a:ext>
            </a:extLst>
          </p:cNvPr>
          <p:cNvSpPr/>
          <p:nvPr/>
        </p:nvSpPr>
        <p:spPr>
          <a:xfrm>
            <a:off x="7692400" y="4088499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84" name="타원 83">
            <a:extLst>
              <a:ext uri="{FF2B5EF4-FFF2-40B4-BE49-F238E27FC236}">
                <a16:creationId xmlns:a16="http://schemas.microsoft.com/office/drawing/2014/main" id="{34A10B20-26A4-4649-8EA9-F6A8172BF531}"/>
              </a:ext>
            </a:extLst>
          </p:cNvPr>
          <p:cNvSpPr/>
          <p:nvPr/>
        </p:nvSpPr>
        <p:spPr>
          <a:xfrm>
            <a:off x="7683367" y="5716057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5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87" name="직선 연결선 86">
            <a:extLst>
              <a:ext uri="{FF2B5EF4-FFF2-40B4-BE49-F238E27FC236}">
                <a16:creationId xmlns:a16="http://schemas.microsoft.com/office/drawing/2014/main" id="{134428FF-DC1B-4639-BC9B-2F8404A522ED}"/>
              </a:ext>
            </a:extLst>
          </p:cNvPr>
          <p:cNvCxnSpPr>
            <a:cxnSpLocks/>
          </p:cNvCxnSpPr>
          <p:nvPr/>
        </p:nvCxnSpPr>
        <p:spPr>
          <a:xfrm>
            <a:off x="7637624" y="5651031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18797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A2E573C3-2E07-46DC-A484-81B345FA4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48389E4-9BF2-437B-83E2-FE8E6CF2D9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GUIDE-REQUEST-02</a:t>
            </a:r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94AC05BA-9838-4A6E-9C97-DDDB7EFEA7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서비스 요청 </a:t>
            </a:r>
            <a:r>
              <a:rPr lang="en-US" altLang="ko-KR" dirty="0"/>
              <a:t>– </a:t>
            </a:r>
            <a:r>
              <a:rPr lang="ko-KR" altLang="en-US" dirty="0"/>
              <a:t>일반 문의</a:t>
            </a:r>
          </a:p>
        </p:txBody>
      </p:sp>
      <p:sp>
        <p:nvSpPr>
          <p:cNvPr id="45" name="텍스트 개체 틀 25">
            <a:extLst>
              <a:ext uri="{FF2B5EF4-FFF2-40B4-BE49-F238E27FC236}">
                <a16:creationId xmlns:a16="http://schemas.microsoft.com/office/drawing/2014/main" id="{D6608DD2-183F-4BB9-A9B4-10047D29D1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01463" y="671500"/>
            <a:ext cx="2371266" cy="6325146"/>
          </a:xfrm>
        </p:spPr>
        <p:txBody>
          <a:bodyPr/>
          <a:lstStyle/>
          <a:p>
            <a:r>
              <a:rPr lang="en-US" altLang="ko-KR" dirty="0"/>
              <a:t>[</a:t>
            </a:r>
            <a:r>
              <a:rPr lang="ko-KR" altLang="en-US" dirty="0"/>
              <a:t>필수</a:t>
            </a:r>
            <a:r>
              <a:rPr lang="en-US" altLang="ko-KR" dirty="0"/>
              <a:t>] </a:t>
            </a:r>
            <a:r>
              <a:rPr lang="ko-KR" altLang="en-US" dirty="0"/>
              <a:t>서비스를 요청하는 시스템을 검색하여 선택합니다</a:t>
            </a:r>
            <a:r>
              <a:rPr lang="en-US" altLang="ko-KR" dirty="0"/>
              <a:t>. </a:t>
            </a:r>
            <a:r>
              <a:rPr lang="ko-KR" altLang="en-US" dirty="0"/>
              <a:t>입력창이나 검색 버튼을 클릭하면 서비스</a:t>
            </a:r>
            <a:r>
              <a:rPr lang="en-US" altLang="ko-KR" dirty="0"/>
              <a:t>/</a:t>
            </a:r>
            <a:r>
              <a:rPr lang="ko-KR" altLang="en-US" dirty="0"/>
              <a:t>어플리케이션을 검색할 수 있는 화면이 보여집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[</a:t>
            </a:r>
            <a:r>
              <a:rPr lang="ko-KR" altLang="en-US" dirty="0"/>
              <a:t>필수</a:t>
            </a:r>
            <a:r>
              <a:rPr lang="en-US" altLang="ko-KR" dirty="0"/>
              <a:t>/</a:t>
            </a:r>
            <a:r>
              <a:rPr lang="ko-KR" altLang="en-US" dirty="0"/>
              <a:t>공통</a:t>
            </a:r>
            <a:r>
              <a:rPr lang="en-US" altLang="ko-KR" dirty="0"/>
              <a:t>] </a:t>
            </a:r>
            <a:r>
              <a:rPr lang="ko-KR" altLang="en-US" dirty="0"/>
              <a:t>제목과 설명을 입력합니다</a:t>
            </a:r>
            <a:r>
              <a:rPr lang="en-US" altLang="ko-KR" dirty="0"/>
              <a:t>. </a:t>
            </a:r>
            <a:r>
              <a:rPr lang="ko-KR" altLang="en-US" dirty="0"/>
              <a:t>모든 요청화면에서 동일한 항목이 보여집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[</a:t>
            </a:r>
            <a:r>
              <a:rPr lang="ko-KR" altLang="en-US" dirty="0"/>
              <a:t>선택</a:t>
            </a:r>
            <a:r>
              <a:rPr lang="en-US" altLang="ko-KR" dirty="0"/>
              <a:t>/</a:t>
            </a:r>
            <a:r>
              <a:rPr lang="ko-KR" altLang="en-US" dirty="0"/>
              <a:t>공통</a:t>
            </a:r>
            <a:r>
              <a:rPr lang="en-US" altLang="ko-KR" dirty="0"/>
              <a:t>] </a:t>
            </a:r>
            <a:r>
              <a:rPr lang="ko-KR" altLang="en-US" dirty="0"/>
              <a:t>모든 요청화면에서 동일한 항목이 보여집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사용자가 신청하는 요청에 대하여 참조가 필요한 참조자를 지정합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서비스 요청에 대한 희망 완료일을 지정합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사용자가 신청하는 요청에 대하여 실 요청자가 다른 경우 지정합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참조할 파일이 있는 경우 추가하여 첨부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제출 버튼을 클릭하여 서비스 요청을 등록합니다</a:t>
            </a:r>
            <a:r>
              <a:rPr lang="en-US" altLang="ko-KR" dirty="0"/>
              <a:t>.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6656964F-4759-48A0-8498-2941220E62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4757" y="840876"/>
            <a:ext cx="3948494" cy="3581400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C62593A7-D461-4C3E-B88D-F5C8784A05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399" y="4422276"/>
            <a:ext cx="3917156" cy="2587562"/>
          </a:xfrm>
          <a:prstGeom prst="rect">
            <a:avLst/>
          </a:prstGeom>
        </p:spPr>
      </p:pic>
      <p:sp>
        <p:nvSpPr>
          <p:cNvPr id="38" name="사각형: 둥근 모서리 37">
            <a:extLst>
              <a:ext uri="{FF2B5EF4-FFF2-40B4-BE49-F238E27FC236}">
                <a16:creationId xmlns:a16="http://schemas.microsoft.com/office/drawing/2014/main" id="{88A2BD3B-1128-4170-8A18-94A5432A8639}"/>
              </a:ext>
            </a:extLst>
          </p:cNvPr>
          <p:cNvSpPr/>
          <p:nvPr/>
        </p:nvSpPr>
        <p:spPr>
          <a:xfrm>
            <a:off x="351399" y="1798654"/>
            <a:ext cx="3917156" cy="499061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9" name="사각형: 둥근 모서리 38">
            <a:extLst>
              <a:ext uri="{FF2B5EF4-FFF2-40B4-BE49-F238E27FC236}">
                <a16:creationId xmlns:a16="http://schemas.microsoft.com/office/drawing/2014/main" id="{2DE24DFB-A4E2-47A4-A286-D05E73DD62A8}"/>
              </a:ext>
            </a:extLst>
          </p:cNvPr>
          <p:cNvSpPr/>
          <p:nvPr/>
        </p:nvSpPr>
        <p:spPr>
          <a:xfrm>
            <a:off x="351399" y="2337907"/>
            <a:ext cx="3917156" cy="2084369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타원 48">
            <a:extLst>
              <a:ext uri="{FF2B5EF4-FFF2-40B4-BE49-F238E27FC236}">
                <a16:creationId xmlns:a16="http://schemas.microsoft.com/office/drawing/2014/main" id="{5721B01B-D364-483F-B21C-BF68A0CC65EF}"/>
              </a:ext>
            </a:extLst>
          </p:cNvPr>
          <p:cNvSpPr/>
          <p:nvPr/>
        </p:nvSpPr>
        <p:spPr>
          <a:xfrm>
            <a:off x="280965" y="1801793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50" name="타원 49">
            <a:extLst>
              <a:ext uri="{FF2B5EF4-FFF2-40B4-BE49-F238E27FC236}">
                <a16:creationId xmlns:a16="http://schemas.microsoft.com/office/drawing/2014/main" id="{564AE9D5-2902-4AB3-8546-ACB79E6A9243}"/>
              </a:ext>
            </a:extLst>
          </p:cNvPr>
          <p:cNvSpPr/>
          <p:nvPr/>
        </p:nvSpPr>
        <p:spPr>
          <a:xfrm>
            <a:off x="268360" y="2392644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57" name="직선 연결선 56">
            <a:extLst>
              <a:ext uri="{FF2B5EF4-FFF2-40B4-BE49-F238E27FC236}">
                <a16:creationId xmlns:a16="http://schemas.microsoft.com/office/drawing/2014/main" id="{694C5368-ECC4-4A82-BCDB-E3027A7B509B}"/>
              </a:ext>
            </a:extLst>
          </p:cNvPr>
          <p:cNvCxnSpPr>
            <a:cxnSpLocks/>
          </p:cNvCxnSpPr>
          <p:nvPr/>
        </p:nvCxnSpPr>
        <p:spPr>
          <a:xfrm>
            <a:off x="7627576" y="1770233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타원 57">
            <a:extLst>
              <a:ext uri="{FF2B5EF4-FFF2-40B4-BE49-F238E27FC236}">
                <a16:creationId xmlns:a16="http://schemas.microsoft.com/office/drawing/2014/main" id="{21BB2DB5-5B4D-48A6-8136-61BD5D06A01E}"/>
              </a:ext>
            </a:extLst>
          </p:cNvPr>
          <p:cNvSpPr/>
          <p:nvPr/>
        </p:nvSpPr>
        <p:spPr>
          <a:xfrm>
            <a:off x="7692400" y="76436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60" name="타원 59">
            <a:extLst>
              <a:ext uri="{FF2B5EF4-FFF2-40B4-BE49-F238E27FC236}">
                <a16:creationId xmlns:a16="http://schemas.microsoft.com/office/drawing/2014/main" id="{DBB26A6B-DA24-4477-8025-278606E9F3FD}"/>
              </a:ext>
            </a:extLst>
          </p:cNvPr>
          <p:cNvSpPr/>
          <p:nvPr/>
        </p:nvSpPr>
        <p:spPr>
          <a:xfrm>
            <a:off x="7683367" y="1863093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61" name="직선 연결선 60">
            <a:extLst>
              <a:ext uri="{FF2B5EF4-FFF2-40B4-BE49-F238E27FC236}">
                <a16:creationId xmlns:a16="http://schemas.microsoft.com/office/drawing/2014/main" id="{D3EF3F10-471A-4979-BCE4-1DCD41E488A1}"/>
              </a:ext>
            </a:extLst>
          </p:cNvPr>
          <p:cNvCxnSpPr>
            <a:cxnSpLocks/>
          </p:cNvCxnSpPr>
          <p:nvPr/>
        </p:nvCxnSpPr>
        <p:spPr>
          <a:xfrm>
            <a:off x="7636609" y="3428036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타원 61">
            <a:extLst>
              <a:ext uri="{FF2B5EF4-FFF2-40B4-BE49-F238E27FC236}">
                <a16:creationId xmlns:a16="http://schemas.microsoft.com/office/drawing/2014/main" id="{3B6FF236-8D28-40D2-9185-1E48311A9B5B}"/>
              </a:ext>
            </a:extLst>
          </p:cNvPr>
          <p:cNvSpPr/>
          <p:nvPr/>
        </p:nvSpPr>
        <p:spPr>
          <a:xfrm>
            <a:off x="7692400" y="3520896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E5D1DCB-20F0-4E5D-9860-9B893D9FEDFA}"/>
              </a:ext>
            </a:extLst>
          </p:cNvPr>
          <p:cNvSpPr txBox="1"/>
          <p:nvPr/>
        </p:nvSpPr>
        <p:spPr>
          <a:xfrm>
            <a:off x="4384804" y="741166"/>
            <a:ext cx="3130688" cy="113293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IT </a:t>
            </a:r>
            <a:r>
              <a:rPr lang="ko-KR" altLang="en-US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서비스 사용 방법</a:t>
            </a:r>
            <a:r>
              <a:rPr lang="en-US" altLang="ko-KR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간단한 오류 등에 대한 문의가 필요한 경우에 요청합니다</a:t>
            </a:r>
            <a:r>
              <a:rPr lang="en-US" altLang="ko-KR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</a:t>
            </a:r>
          </a:p>
        </p:txBody>
      </p:sp>
      <p:cxnSp>
        <p:nvCxnSpPr>
          <p:cNvPr id="48" name="직선 연결선 47">
            <a:extLst>
              <a:ext uri="{FF2B5EF4-FFF2-40B4-BE49-F238E27FC236}">
                <a16:creationId xmlns:a16="http://schemas.microsoft.com/office/drawing/2014/main" id="{BCA041AC-C053-4DEF-B9E4-FD95738CBAB7}"/>
              </a:ext>
            </a:extLst>
          </p:cNvPr>
          <p:cNvCxnSpPr>
            <a:cxnSpLocks/>
          </p:cNvCxnSpPr>
          <p:nvPr/>
        </p:nvCxnSpPr>
        <p:spPr>
          <a:xfrm>
            <a:off x="7636609" y="1343812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타원 50">
            <a:extLst>
              <a:ext uri="{FF2B5EF4-FFF2-40B4-BE49-F238E27FC236}">
                <a16:creationId xmlns:a16="http://schemas.microsoft.com/office/drawing/2014/main" id="{108E33C4-C940-4664-9E7D-F4FA712C3239}"/>
              </a:ext>
            </a:extLst>
          </p:cNvPr>
          <p:cNvSpPr/>
          <p:nvPr/>
        </p:nvSpPr>
        <p:spPr>
          <a:xfrm>
            <a:off x="7692400" y="1436672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D6A70505-EE6F-4DFD-9315-31A547C1AB4B}"/>
              </a:ext>
            </a:extLst>
          </p:cNvPr>
          <p:cNvSpPr/>
          <p:nvPr/>
        </p:nvSpPr>
        <p:spPr>
          <a:xfrm>
            <a:off x="351399" y="4462468"/>
            <a:ext cx="3917156" cy="2139299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타원 51">
            <a:extLst>
              <a:ext uri="{FF2B5EF4-FFF2-40B4-BE49-F238E27FC236}">
                <a16:creationId xmlns:a16="http://schemas.microsoft.com/office/drawing/2014/main" id="{A2276E95-4EDA-4988-9757-3328EFD96C39}"/>
              </a:ext>
            </a:extLst>
          </p:cNvPr>
          <p:cNvSpPr/>
          <p:nvPr/>
        </p:nvSpPr>
        <p:spPr>
          <a:xfrm>
            <a:off x="268360" y="4477013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64" name="타원 63">
            <a:extLst>
              <a:ext uri="{FF2B5EF4-FFF2-40B4-BE49-F238E27FC236}">
                <a16:creationId xmlns:a16="http://schemas.microsoft.com/office/drawing/2014/main" id="{FD907D54-9EF4-4A8A-8D64-A53C77B69545}"/>
              </a:ext>
            </a:extLst>
          </p:cNvPr>
          <p:cNvSpPr/>
          <p:nvPr/>
        </p:nvSpPr>
        <p:spPr>
          <a:xfrm>
            <a:off x="1675129" y="6711064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567699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A2E573C3-2E07-46DC-A484-81B345FA4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48389E4-9BF2-437B-83E2-FE8E6CF2D9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GUIDE-REQUEST-03</a:t>
            </a:r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94AC05BA-9838-4A6E-9C97-DDDB7EFEA7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서비스 요청 </a:t>
            </a:r>
            <a:r>
              <a:rPr lang="en-US" altLang="ko-KR" dirty="0"/>
              <a:t>– </a:t>
            </a:r>
            <a:r>
              <a:rPr lang="ko-KR" altLang="en-US" dirty="0"/>
              <a:t>간편 신청</a:t>
            </a:r>
          </a:p>
        </p:txBody>
      </p:sp>
      <p:sp>
        <p:nvSpPr>
          <p:cNvPr id="45" name="텍스트 개체 틀 25">
            <a:extLst>
              <a:ext uri="{FF2B5EF4-FFF2-40B4-BE49-F238E27FC236}">
                <a16:creationId xmlns:a16="http://schemas.microsoft.com/office/drawing/2014/main" id="{D6608DD2-183F-4BB9-A9B4-10047D29D1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01463" y="671500"/>
            <a:ext cx="2371266" cy="6325146"/>
          </a:xfrm>
        </p:spPr>
        <p:txBody>
          <a:bodyPr/>
          <a:lstStyle/>
          <a:p>
            <a:r>
              <a:rPr lang="ko-KR" altLang="en-US" dirty="0"/>
              <a:t>일반 문의의 어플리케이션 선택 하단에 보여지는 링크를 클릭하여 간편 신청 화면으로 이동할 수 있습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[</a:t>
            </a:r>
            <a:r>
              <a:rPr lang="ko-KR" altLang="en-US" dirty="0"/>
              <a:t>필수</a:t>
            </a:r>
            <a:r>
              <a:rPr lang="en-US" altLang="ko-KR" dirty="0"/>
              <a:t>] </a:t>
            </a:r>
            <a:r>
              <a:rPr lang="ko-KR" altLang="en-US" dirty="0"/>
              <a:t>제목을 입력합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[</a:t>
            </a:r>
            <a:r>
              <a:rPr lang="ko-KR" altLang="en-US" dirty="0"/>
              <a:t>필수</a:t>
            </a:r>
            <a:r>
              <a:rPr lang="en-US" altLang="ko-KR" dirty="0"/>
              <a:t>] </a:t>
            </a:r>
            <a:r>
              <a:rPr lang="ko-KR" altLang="en-US" dirty="0"/>
              <a:t>설명을 자세히 입력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참조할 파일이 있는 경우 추가하여 첨부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제출 버튼을 클릭하여 서비스 요청을 등록합니다</a:t>
            </a:r>
            <a:r>
              <a:rPr lang="en-US" altLang="ko-KR" dirty="0"/>
              <a:t>.</a:t>
            </a:r>
          </a:p>
        </p:txBody>
      </p:sp>
      <p:cxnSp>
        <p:nvCxnSpPr>
          <p:cNvPr id="57" name="직선 연결선 56">
            <a:extLst>
              <a:ext uri="{FF2B5EF4-FFF2-40B4-BE49-F238E27FC236}">
                <a16:creationId xmlns:a16="http://schemas.microsoft.com/office/drawing/2014/main" id="{694C5368-ECC4-4A82-BCDB-E3027A7B509B}"/>
              </a:ext>
            </a:extLst>
          </p:cNvPr>
          <p:cNvCxnSpPr>
            <a:cxnSpLocks/>
          </p:cNvCxnSpPr>
          <p:nvPr/>
        </p:nvCxnSpPr>
        <p:spPr>
          <a:xfrm>
            <a:off x="7627576" y="1532326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타원 57">
            <a:extLst>
              <a:ext uri="{FF2B5EF4-FFF2-40B4-BE49-F238E27FC236}">
                <a16:creationId xmlns:a16="http://schemas.microsoft.com/office/drawing/2014/main" id="{21BB2DB5-5B4D-48A6-8136-61BD5D06A01E}"/>
              </a:ext>
            </a:extLst>
          </p:cNvPr>
          <p:cNvSpPr/>
          <p:nvPr/>
        </p:nvSpPr>
        <p:spPr>
          <a:xfrm>
            <a:off x="7692400" y="76436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60" name="타원 59">
            <a:extLst>
              <a:ext uri="{FF2B5EF4-FFF2-40B4-BE49-F238E27FC236}">
                <a16:creationId xmlns:a16="http://schemas.microsoft.com/office/drawing/2014/main" id="{DBB26A6B-DA24-4477-8025-278606E9F3FD}"/>
              </a:ext>
            </a:extLst>
          </p:cNvPr>
          <p:cNvSpPr/>
          <p:nvPr/>
        </p:nvSpPr>
        <p:spPr>
          <a:xfrm>
            <a:off x="7683367" y="1625186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61" name="직선 연결선 60">
            <a:extLst>
              <a:ext uri="{FF2B5EF4-FFF2-40B4-BE49-F238E27FC236}">
                <a16:creationId xmlns:a16="http://schemas.microsoft.com/office/drawing/2014/main" id="{D3EF3F10-471A-4979-BCE4-1DCD41E488A1}"/>
              </a:ext>
            </a:extLst>
          </p:cNvPr>
          <p:cNvCxnSpPr>
            <a:cxnSpLocks/>
          </p:cNvCxnSpPr>
          <p:nvPr/>
        </p:nvCxnSpPr>
        <p:spPr>
          <a:xfrm>
            <a:off x="7636609" y="2093350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타원 61">
            <a:extLst>
              <a:ext uri="{FF2B5EF4-FFF2-40B4-BE49-F238E27FC236}">
                <a16:creationId xmlns:a16="http://schemas.microsoft.com/office/drawing/2014/main" id="{3B6FF236-8D28-40D2-9185-1E48311A9B5B}"/>
              </a:ext>
            </a:extLst>
          </p:cNvPr>
          <p:cNvSpPr/>
          <p:nvPr/>
        </p:nvSpPr>
        <p:spPr>
          <a:xfrm>
            <a:off x="7692400" y="218621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5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E5D1DCB-20F0-4E5D-9860-9B893D9FEDFA}"/>
              </a:ext>
            </a:extLst>
          </p:cNvPr>
          <p:cNvSpPr txBox="1"/>
          <p:nvPr/>
        </p:nvSpPr>
        <p:spPr>
          <a:xfrm>
            <a:off x="4384804" y="741166"/>
            <a:ext cx="3130688" cy="113293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어플리케이션 확인이 어려운 경우 간편신청으로 서비스를 요청할 수 있습니다</a:t>
            </a:r>
            <a:r>
              <a:rPr lang="en-US" altLang="ko-KR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</a:t>
            </a:r>
          </a:p>
        </p:txBody>
      </p:sp>
      <p:cxnSp>
        <p:nvCxnSpPr>
          <p:cNvPr id="48" name="직선 연결선 47">
            <a:extLst>
              <a:ext uri="{FF2B5EF4-FFF2-40B4-BE49-F238E27FC236}">
                <a16:creationId xmlns:a16="http://schemas.microsoft.com/office/drawing/2014/main" id="{BCA041AC-C053-4DEF-B9E4-FD95738CBAB7}"/>
              </a:ext>
            </a:extLst>
          </p:cNvPr>
          <p:cNvCxnSpPr>
            <a:cxnSpLocks/>
          </p:cNvCxnSpPr>
          <p:nvPr/>
        </p:nvCxnSpPr>
        <p:spPr>
          <a:xfrm>
            <a:off x="7636609" y="1201792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타원 50">
            <a:extLst>
              <a:ext uri="{FF2B5EF4-FFF2-40B4-BE49-F238E27FC236}">
                <a16:creationId xmlns:a16="http://schemas.microsoft.com/office/drawing/2014/main" id="{108E33C4-C940-4664-9E7D-F4FA712C3239}"/>
              </a:ext>
            </a:extLst>
          </p:cNvPr>
          <p:cNvSpPr/>
          <p:nvPr/>
        </p:nvSpPr>
        <p:spPr>
          <a:xfrm>
            <a:off x="7692400" y="1294652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7C3F5AF2-3196-4C91-B057-144E6ED3EA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2140" y="3085430"/>
            <a:ext cx="4167188" cy="3771900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D832C32A-834A-4E73-9813-6C4AF30BC9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471" y="1038284"/>
            <a:ext cx="4119563" cy="1557338"/>
          </a:xfrm>
          <a:prstGeom prst="rect">
            <a:avLst/>
          </a:prstGeom>
        </p:spPr>
      </p:pic>
      <p:sp>
        <p:nvSpPr>
          <p:cNvPr id="26" name="타원 25">
            <a:extLst>
              <a:ext uri="{FF2B5EF4-FFF2-40B4-BE49-F238E27FC236}">
                <a16:creationId xmlns:a16="http://schemas.microsoft.com/office/drawing/2014/main" id="{4AA93AC4-8104-4034-852B-495D15EE105E}"/>
              </a:ext>
            </a:extLst>
          </p:cNvPr>
          <p:cNvSpPr/>
          <p:nvPr/>
        </p:nvSpPr>
        <p:spPr>
          <a:xfrm>
            <a:off x="1344172" y="244259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10" name="직선 연결선 9">
            <a:extLst>
              <a:ext uri="{FF2B5EF4-FFF2-40B4-BE49-F238E27FC236}">
                <a16:creationId xmlns:a16="http://schemas.microsoft.com/office/drawing/2014/main" id="{41E53F9F-5B96-47F0-A911-069BA2A11CB0}"/>
              </a:ext>
            </a:extLst>
          </p:cNvPr>
          <p:cNvCxnSpPr/>
          <p:nvPr/>
        </p:nvCxnSpPr>
        <p:spPr>
          <a:xfrm>
            <a:off x="1497204" y="2605529"/>
            <a:ext cx="477438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자유형: 도형 28">
            <a:extLst>
              <a:ext uri="{FF2B5EF4-FFF2-40B4-BE49-F238E27FC236}">
                <a16:creationId xmlns:a16="http://schemas.microsoft.com/office/drawing/2014/main" id="{936A7925-7A1C-4DA3-89B6-534A5FD435FB}"/>
              </a:ext>
            </a:extLst>
          </p:cNvPr>
          <p:cNvSpPr/>
          <p:nvPr/>
        </p:nvSpPr>
        <p:spPr>
          <a:xfrm rot="1572586">
            <a:off x="2413052" y="2808574"/>
            <a:ext cx="671669" cy="615481"/>
          </a:xfrm>
          <a:custGeom>
            <a:avLst/>
            <a:gdLst>
              <a:gd name="connsiteX0" fmla="*/ 0 w 657380"/>
              <a:gd name="connsiteY0" fmla="*/ 0 h 684789"/>
              <a:gd name="connsiteX1" fmla="*/ 11037 w 657380"/>
              <a:gd name="connsiteY1" fmla="*/ 3668 h 684789"/>
              <a:gd name="connsiteX2" fmla="*/ 8532 w 657380"/>
              <a:gd name="connsiteY2" fmla="*/ 11573 h 684789"/>
              <a:gd name="connsiteX3" fmla="*/ 9280 w 657380"/>
              <a:gd name="connsiteY3" fmla="*/ 18674 h 684789"/>
              <a:gd name="connsiteX4" fmla="*/ 9281 w 657380"/>
              <a:gd name="connsiteY4" fmla="*/ 18674 h 684789"/>
              <a:gd name="connsiteX5" fmla="*/ 34683 w 657380"/>
              <a:gd name="connsiteY5" fmla="*/ 97656 h 684789"/>
              <a:gd name="connsiteX6" fmla="*/ 47126 w 657380"/>
              <a:gd name="connsiteY6" fmla="*/ 122140 h 684789"/>
              <a:gd name="connsiteX7" fmla="*/ 74579 w 657380"/>
              <a:gd name="connsiteY7" fmla="*/ 171743 h 684789"/>
              <a:gd name="connsiteX8" fmla="*/ 94082 w 657380"/>
              <a:gd name="connsiteY8" fmla="*/ 198437 h 684789"/>
              <a:gd name="connsiteX9" fmla="*/ 127971 w 657380"/>
              <a:gd name="connsiteY9" fmla="*/ 239850 h 684789"/>
              <a:gd name="connsiteX10" fmla="*/ 153059 w 657380"/>
              <a:gd name="connsiteY10" fmla="*/ 265146 h 684789"/>
              <a:gd name="connsiteX11" fmla="*/ 194020 w 657380"/>
              <a:gd name="connsiteY11" fmla="*/ 300926 h 684789"/>
              <a:gd name="connsiteX12" fmla="*/ 223423 w 657380"/>
              <a:gd name="connsiteY12" fmla="*/ 323210 h 684789"/>
              <a:gd name="connsiteX13" fmla="*/ 272343 w 657380"/>
              <a:gd name="connsiteY13" fmla="*/ 354011 h 684789"/>
              <a:gd name="connsiteX14" fmla="*/ 304229 w 657380"/>
              <a:gd name="connsiteY14" fmla="*/ 372058 h 684789"/>
              <a:gd name="connsiteX15" fmla="*/ 364466 w 657380"/>
              <a:gd name="connsiteY15" fmla="*/ 398536 h 684789"/>
              <a:gd name="connsiteX16" fmla="*/ 394452 w 657380"/>
              <a:gd name="connsiteY16" fmla="*/ 410763 h 684789"/>
              <a:gd name="connsiteX17" fmla="*/ 493035 w 657380"/>
              <a:gd name="connsiteY17" fmla="*/ 438272 h 684789"/>
              <a:gd name="connsiteX18" fmla="*/ 493035 w 657380"/>
              <a:gd name="connsiteY18" fmla="*/ 356099 h 684789"/>
              <a:gd name="connsiteX19" fmla="*/ 657380 w 657380"/>
              <a:gd name="connsiteY19" fmla="*/ 537091 h 684789"/>
              <a:gd name="connsiteX20" fmla="*/ 493035 w 657380"/>
              <a:gd name="connsiteY20" fmla="*/ 684789 h 684789"/>
              <a:gd name="connsiteX21" fmla="*/ 493035 w 657380"/>
              <a:gd name="connsiteY21" fmla="*/ 602617 h 684789"/>
              <a:gd name="connsiteX22" fmla="*/ 293551 w 657380"/>
              <a:gd name="connsiteY22" fmla="*/ 531710 h 684789"/>
              <a:gd name="connsiteX23" fmla="*/ 0 w 657380"/>
              <a:gd name="connsiteY23" fmla="*/ 95025 h 684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57380" h="684789">
                <a:moveTo>
                  <a:pt x="0" y="0"/>
                </a:moveTo>
                <a:lnTo>
                  <a:pt x="11037" y="3668"/>
                </a:lnTo>
                <a:lnTo>
                  <a:pt x="8532" y="11573"/>
                </a:lnTo>
                <a:lnTo>
                  <a:pt x="9280" y="18674"/>
                </a:lnTo>
                <a:lnTo>
                  <a:pt x="9281" y="18674"/>
                </a:lnTo>
                <a:lnTo>
                  <a:pt x="34683" y="97656"/>
                </a:lnTo>
                <a:lnTo>
                  <a:pt x="47126" y="122140"/>
                </a:lnTo>
                <a:lnTo>
                  <a:pt x="74579" y="171743"/>
                </a:lnTo>
                <a:lnTo>
                  <a:pt x="94082" y="198437"/>
                </a:lnTo>
                <a:lnTo>
                  <a:pt x="127971" y="239850"/>
                </a:lnTo>
                <a:lnTo>
                  <a:pt x="153059" y="265146"/>
                </a:lnTo>
                <a:lnTo>
                  <a:pt x="194020" y="300926"/>
                </a:lnTo>
                <a:lnTo>
                  <a:pt x="223423" y="323210"/>
                </a:lnTo>
                <a:lnTo>
                  <a:pt x="272343" y="354011"/>
                </a:lnTo>
                <a:lnTo>
                  <a:pt x="304229" y="372058"/>
                </a:lnTo>
                <a:lnTo>
                  <a:pt x="364466" y="398536"/>
                </a:lnTo>
                <a:lnTo>
                  <a:pt x="394452" y="410763"/>
                </a:lnTo>
                <a:lnTo>
                  <a:pt x="493035" y="438272"/>
                </a:lnTo>
                <a:lnTo>
                  <a:pt x="493035" y="356099"/>
                </a:lnTo>
                <a:lnTo>
                  <a:pt x="657380" y="537091"/>
                </a:lnTo>
                <a:lnTo>
                  <a:pt x="493035" y="684789"/>
                </a:lnTo>
                <a:lnTo>
                  <a:pt x="493035" y="602617"/>
                </a:lnTo>
                <a:cubicBezTo>
                  <a:pt x="420474" y="587676"/>
                  <a:pt x="353379" y="563422"/>
                  <a:pt x="293551" y="531710"/>
                </a:cubicBezTo>
                <a:cubicBezTo>
                  <a:pt x="114069" y="436573"/>
                  <a:pt x="0" y="274314"/>
                  <a:pt x="0" y="9502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sp>
        <p:nvSpPr>
          <p:cNvPr id="30" name="사각형: 둥근 모서리 29">
            <a:extLst>
              <a:ext uri="{FF2B5EF4-FFF2-40B4-BE49-F238E27FC236}">
                <a16:creationId xmlns:a16="http://schemas.microsoft.com/office/drawing/2014/main" id="{3E4BCED3-A47F-4BD0-B7E4-EBB4B865235F}"/>
              </a:ext>
            </a:extLst>
          </p:cNvPr>
          <p:cNvSpPr/>
          <p:nvPr/>
        </p:nvSpPr>
        <p:spPr>
          <a:xfrm>
            <a:off x="3186108" y="3579290"/>
            <a:ext cx="4223219" cy="499061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FF30636D-A5A3-44A8-AD9B-05C203580BAB}"/>
              </a:ext>
            </a:extLst>
          </p:cNvPr>
          <p:cNvSpPr/>
          <p:nvPr/>
        </p:nvSpPr>
        <p:spPr>
          <a:xfrm>
            <a:off x="3115675" y="3582429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32" name="사각형: 둥근 모서리 31">
            <a:extLst>
              <a:ext uri="{FF2B5EF4-FFF2-40B4-BE49-F238E27FC236}">
                <a16:creationId xmlns:a16="http://schemas.microsoft.com/office/drawing/2014/main" id="{1C1E9697-9E98-499C-889D-93D7C34658AF}"/>
              </a:ext>
            </a:extLst>
          </p:cNvPr>
          <p:cNvSpPr/>
          <p:nvPr/>
        </p:nvSpPr>
        <p:spPr>
          <a:xfrm>
            <a:off x="3186108" y="4126606"/>
            <a:ext cx="4223219" cy="1751680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타원 32">
            <a:extLst>
              <a:ext uri="{FF2B5EF4-FFF2-40B4-BE49-F238E27FC236}">
                <a16:creationId xmlns:a16="http://schemas.microsoft.com/office/drawing/2014/main" id="{D2F2E503-A19F-4955-80CC-40686E1BD679}"/>
              </a:ext>
            </a:extLst>
          </p:cNvPr>
          <p:cNvSpPr/>
          <p:nvPr/>
        </p:nvSpPr>
        <p:spPr>
          <a:xfrm>
            <a:off x="3115675" y="4129745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34" name="사각형: 둥근 모서리 33">
            <a:extLst>
              <a:ext uri="{FF2B5EF4-FFF2-40B4-BE49-F238E27FC236}">
                <a16:creationId xmlns:a16="http://schemas.microsoft.com/office/drawing/2014/main" id="{9CBCD85F-06EC-4D2D-8F3F-377E84FABE3B}"/>
              </a:ext>
            </a:extLst>
          </p:cNvPr>
          <p:cNvSpPr/>
          <p:nvPr/>
        </p:nvSpPr>
        <p:spPr>
          <a:xfrm>
            <a:off x="3186108" y="5914082"/>
            <a:ext cx="4223219" cy="499061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타원 34">
            <a:extLst>
              <a:ext uri="{FF2B5EF4-FFF2-40B4-BE49-F238E27FC236}">
                <a16:creationId xmlns:a16="http://schemas.microsoft.com/office/drawing/2014/main" id="{1676B8E2-A995-4BAF-ADA8-4E51C71C8EC5}"/>
              </a:ext>
            </a:extLst>
          </p:cNvPr>
          <p:cNvSpPr/>
          <p:nvPr/>
        </p:nvSpPr>
        <p:spPr>
          <a:xfrm>
            <a:off x="3115675" y="5917221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36" name="타원 35">
            <a:extLst>
              <a:ext uri="{FF2B5EF4-FFF2-40B4-BE49-F238E27FC236}">
                <a16:creationId xmlns:a16="http://schemas.microsoft.com/office/drawing/2014/main" id="{E06F6DCB-294C-4417-B478-9743E7398AB4}"/>
              </a:ext>
            </a:extLst>
          </p:cNvPr>
          <p:cNvSpPr/>
          <p:nvPr/>
        </p:nvSpPr>
        <p:spPr>
          <a:xfrm>
            <a:off x="4745105" y="6594849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5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37" name="직선 연결선 36">
            <a:extLst>
              <a:ext uri="{FF2B5EF4-FFF2-40B4-BE49-F238E27FC236}">
                <a16:creationId xmlns:a16="http://schemas.microsoft.com/office/drawing/2014/main" id="{948414DA-B307-46A5-A861-824FA183867E}"/>
              </a:ext>
            </a:extLst>
          </p:cNvPr>
          <p:cNvCxnSpPr>
            <a:cxnSpLocks/>
          </p:cNvCxnSpPr>
          <p:nvPr/>
        </p:nvCxnSpPr>
        <p:spPr>
          <a:xfrm>
            <a:off x="7627576" y="1780810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타원 39">
            <a:extLst>
              <a:ext uri="{FF2B5EF4-FFF2-40B4-BE49-F238E27FC236}">
                <a16:creationId xmlns:a16="http://schemas.microsoft.com/office/drawing/2014/main" id="{C7099E14-9894-4422-B54E-52AF5A8D3BBF}"/>
              </a:ext>
            </a:extLst>
          </p:cNvPr>
          <p:cNvSpPr/>
          <p:nvPr/>
        </p:nvSpPr>
        <p:spPr>
          <a:xfrm>
            <a:off x="7683367" y="1873670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285182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A2E573C3-2E07-46DC-A484-81B345FA4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48389E4-9BF2-437B-83E2-FE8E6CF2D9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GUIDE-REQUEST-04</a:t>
            </a:r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94AC05BA-9838-4A6E-9C97-DDDB7EFEA7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서비스 요청 </a:t>
            </a:r>
            <a:r>
              <a:rPr lang="en-US" altLang="ko-KR" dirty="0"/>
              <a:t>– </a:t>
            </a:r>
            <a:r>
              <a:rPr lang="ko-KR" altLang="en-US" dirty="0"/>
              <a:t>개발 요청</a:t>
            </a:r>
          </a:p>
        </p:txBody>
      </p:sp>
      <p:sp>
        <p:nvSpPr>
          <p:cNvPr id="45" name="텍스트 개체 틀 25">
            <a:extLst>
              <a:ext uri="{FF2B5EF4-FFF2-40B4-BE49-F238E27FC236}">
                <a16:creationId xmlns:a16="http://schemas.microsoft.com/office/drawing/2014/main" id="{D6608DD2-183F-4BB9-A9B4-10047D29D1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01463" y="671500"/>
            <a:ext cx="2371266" cy="6325146"/>
          </a:xfrm>
        </p:spPr>
        <p:txBody>
          <a:bodyPr/>
          <a:lstStyle/>
          <a:p>
            <a:r>
              <a:rPr lang="en-US" altLang="ko-KR" dirty="0"/>
              <a:t>[</a:t>
            </a:r>
            <a:r>
              <a:rPr lang="ko-KR" altLang="en-US" dirty="0"/>
              <a:t>필수</a:t>
            </a:r>
            <a:r>
              <a:rPr lang="en-US" altLang="ko-KR" dirty="0"/>
              <a:t>] </a:t>
            </a:r>
            <a:r>
              <a:rPr lang="ko-KR" altLang="en-US" dirty="0"/>
              <a:t>서비스를 요청하는 시스템을 검색하여 선택합니다</a:t>
            </a:r>
            <a:r>
              <a:rPr lang="en-US" altLang="ko-KR" dirty="0"/>
              <a:t>. </a:t>
            </a:r>
            <a:r>
              <a:rPr lang="ko-KR" altLang="en-US" dirty="0"/>
              <a:t>입력창이나 검색 버튼을 클릭하면 서비스</a:t>
            </a:r>
            <a:r>
              <a:rPr lang="en-US" altLang="ko-KR" dirty="0"/>
              <a:t>/</a:t>
            </a:r>
            <a:r>
              <a:rPr lang="ko-KR" altLang="en-US" dirty="0"/>
              <a:t>어플리케이션을 검색할 수 있는 화면이 보여집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선택한 어플리케이션이 내부회계관리대상 시스템인 경우 결재선 지정 필드가 추가로 보여집니다</a:t>
            </a:r>
            <a:r>
              <a:rPr lang="en-US" altLang="ko-KR" dirty="0"/>
              <a:t>.</a:t>
            </a:r>
          </a:p>
          <a:p>
            <a:pPr>
              <a:spcBef>
                <a:spcPts val="200"/>
              </a:spcBef>
            </a:pPr>
            <a:r>
              <a:rPr lang="ko-KR" altLang="en-US" dirty="0"/>
              <a:t>결재자 지정은은 이름으로 검색하여 지정합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[</a:t>
            </a:r>
            <a:r>
              <a:rPr lang="ko-KR" altLang="en-US" dirty="0"/>
              <a:t>필수</a:t>
            </a:r>
            <a:r>
              <a:rPr lang="en-US" altLang="ko-KR" dirty="0"/>
              <a:t>/</a:t>
            </a:r>
            <a:r>
              <a:rPr lang="ko-KR" altLang="en-US" dirty="0"/>
              <a:t>공통</a:t>
            </a:r>
            <a:r>
              <a:rPr lang="en-US" altLang="ko-KR" dirty="0"/>
              <a:t>] </a:t>
            </a:r>
            <a:r>
              <a:rPr lang="ko-KR" altLang="en-US" dirty="0"/>
              <a:t>제목과 설명을 입력합니다</a:t>
            </a:r>
            <a:r>
              <a:rPr lang="en-US" altLang="ko-KR" dirty="0"/>
              <a:t>. </a:t>
            </a:r>
            <a:r>
              <a:rPr lang="ko-KR" altLang="en-US" dirty="0"/>
              <a:t>모든 요청화면에서 동일한 항목이 보여집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[</a:t>
            </a:r>
            <a:r>
              <a:rPr lang="ko-KR" altLang="en-US" dirty="0"/>
              <a:t>선택</a:t>
            </a:r>
            <a:r>
              <a:rPr lang="en-US" altLang="ko-KR" dirty="0"/>
              <a:t>/</a:t>
            </a:r>
            <a:r>
              <a:rPr lang="ko-KR" altLang="en-US" dirty="0"/>
              <a:t>공통</a:t>
            </a:r>
            <a:r>
              <a:rPr lang="en-US" altLang="ko-KR" dirty="0"/>
              <a:t>] </a:t>
            </a:r>
            <a:r>
              <a:rPr lang="ko-KR" altLang="en-US" dirty="0"/>
              <a:t>모든 요청화면에서 동일한 항목이 보여집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사용자가 신청하는 요청에 대하여 참조가 필요한 참조자를 지정합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서비스 요청에 대한 희망 완료일을 지정합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사용자가 신청하는 요청에 대하여 실 요청자가 다른 경우 지정합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참조할 파일이 있는 경우 추가하여 첨부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제출 버튼을 클릭하여 서비스 요청을 등록합니다</a:t>
            </a:r>
            <a:r>
              <a:rPr lang="en-US" altLang="ko-KR" dirty="0"/>
              <a:t>.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6656964F-4759-48A0-8498-2941220E625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4779"/>
          <a:stretch/>
        </p:blipFill>
        <p:spPr>
          <a:xfrm>
            <a:off x="354757" y="1728316"/>
            <a:ext cx="3948494" cy="2693959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C62593A7-D461-4C3E-B88D-F5C8784A05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399" y="4422276"/>
            <a:ext cx="3917156" cy="2587562"/>
          </a:xfrm>
          <a:prstGeom prst="rect">
            <a:avLst/>
          </a:prstGeom>
        </p:spPr>
      </p:pic>
      <p:sp>
        <p:nvSpPr>
          <p:cNvPr id="38" name="사각형: 둥근 모서리 37">
            <a:extLst>
              <a:ext uri="{FF2B5EF4-FFF2-40B4-BE49-F238E27FC236}">
                <a16:creationId xmlns:a16="http://schemas.microsoft.com/office/drawing/2014/main" id="{88A2BD3B-1128-4170-8A18-94A5432A8639}"/>
              </a:ext>
            </a:extLst>
          </p:cNvPr>
          <p:cNvSpPr/>
          <p:nvPr/>
        </p:nvSpPr>
        <p:spPr>
          <a:xfrm>
            <a:off x="351399" y="1798654"/>
            <a:ext cx="3917156" cy="499061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9" name="사각형: 둥근 모서리 38">
            <a:extLst>
              <a:ext uri="{FF2B5EF4-FFF2-40B4-BE49-F238E27FC236}">
                <a16:creationId xmlns:a16="http://schemas.microsoft.com/office/drawing/2014/main" id="{2DE24DFB-A4E2-47A4-A286-D05E73DD62A8}"/>
              </a:ext>
            </a:extLst>
          </p:cNvPr>
          <p:cNvSpPr/>
          <p:nvPr/>
        </p:nvSpPr>
        <p:spPr>
          <a:xfrm>
            <a:off x="351399" y="2337907"/>
            <a:ext cx="3917156" cy="2084369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0B4462CD-E806-4528-9160-A1478147FEBE}"/>
              </a:ext>
            </a:extLst>
          </p:cNvPr>
          <p:cNvSpPr/>
          <p:nvPr/>
        </p:nvSpPr>
        <p:spPr>
          <a:xfrm>
            <a:off x="351399" y="4462468"/>
            <a:ext cx="3917156" cy="2149347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타원 48">
            <a:extLst>
              <a:ext uri="{FF2B5EF4-FFF2-40B4-BE49-F238E27FC236}">
                <a16:creationId xmlns:a16="http://schemas.microsoft.com/office/drawing/2014/main" id="{5721B01B-D364-483F-B21C-BF68A0CC65EF}"/>
              </a:ext>
            </a:extLst>
          </p:cNvPr>
          <p:cNvSpPr/>
          <p:nvPr/>
        </p:nvSpPr>
        <p:spPr>
          <a:xfrm>
            <a:off x="280965" y="1801793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50" name="타원 49">
            <a:extLst>
              <a:ext uri="{FF2B5EF4-FFF2-40B4-BE49-F238E27FC236}">
                <a16:creationId xmlns:a16="http://schemas.microsoft.com/office/drawing/2014/main" id="{564AE9D5-2902-4AB3-8546-ACB79E6A9243}"/>
              </a:ext>
            </a:extLst>
          </p:cNvPr>
          <p:cNvSpPr/>
          <p:nvPr/>
        </p:nvSpPr>
        <p:spPr>
          <a:xfrm>
            <a:off x="268360" y="2392644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52" name="타원 51">
            <a:extLst>
              <a:ext uri="{FF2B5EF4-FFF2-40B4-BE49-F238E27FC236}">
                <a16:creationId xmlns:a16="http://schemas.microsoft.com/office/drawing/2014/main" id="{A2276E95-4EDA-4988-9757-3328EFD96C39}"/>
              </a:ext>
            </a:extLst>
          </p:cNvPr>
          <p:cNvSpPr/>
          <p:nvPr/>
        </p:nvSpPr>
        <p:spPr>
          <a:xfrm>
            <a:off x="268360" y="4477013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57" name="직선 연결선 56">
            <a:extLst>
              <a:ext uri="{FF2B5EF4-FFF2-40B4-BE49-F238E27FC236}">
                <a16:creationId xmlns:a16="http://schemas.microsoft.com/office/drawing/2014/main" id="{694C5368-ECC4-4A82-BCDB-E3027A7B509B}"/>
              </a:ext>
            </a:extLst>
          </p:cNvPr>
          <p:cNvCxnSpPr>
            <a:cxnSpLocks/>
          </p:cNvCxnSpPr>
          <p:nvPr/>
        </p:nvCxnSpPr>
        <p:spPr>
          <a:xfrm>
            <a:off x="7627576" y="2074753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타원 57">
            <a:extLst>
              <a:ext uri="{FF2B5EF4-FFF2-40B4-BE49-F238E27FC236}">
                <a16:creationId xmlns:a16="http://schemas.microsoft.com/office/drawing/2014/main" id="{21BB2DB5-5B4D-48A6-8136-61BD5D06A01E}"/>
              </a:ext>
            </a:extLst>
          </p:cNvPr>
          <p:cNvSpPr/>
          <p:nvPr/>
        </p:nvSpPr>
        <p:spPr>
          <a:xfrm>
            <a:off x="7692400" y="76436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60" name="타원 59">
            <a:extLst>
              <a:ext uri="{FF2B5EF4-FFF2-40B4-BE49-F238E27FC236}">
                <a16:creationId xmlns:a16="http://schemas.microsoft.com/office/drawing/2014/main" id="{DBB26A6B-DA24-4477-8025-278606E9F3FD}"/>
              </a:ext>
            </a:extLst>
          </p:cNvPr>
          <p:cNvSpPr/>
          <p:nvPr/>
        </p:nvSpPr>
        <p:spPr>
          <a:xfrm>
            <a:off x="7683367" y="2167613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61" name="직선 연결선 60">
            <a:extLst>
              <a:ext uri="{FF2B5EF4-FFF2-40B4-BE49-F238E27FC236}">
                <a16:creationId xmlns:a16="http://schemas.microsoft.com/office/drawing/2014/main" id="{D3EF3F10-471A-4979-BCE4-1DCD41E488A1}"/>
              </a:ext>
            </a:extLst>
          </p:cNvPr>
          <p:cNvCxnSpPr>
            <a:cxnSpLocks/>
          </p:cNvCxnSpPr>
          <p:nvPr/>
        </p:nvCxnSpPr>
        <p:spPr>
          <a:xfrm>
            <a:off x="7636609" y="2496848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타원 61">
            <a:extLst>
              <a:ext uri="{FF2B5EF4-FFF2-40B4-BE49-F238E27FC236}">
                <a16:creationId xmlns:a16="http://schemas.microsoft.com/office/drawing/2014/main" id="{3B6FF236-8D28-40D2-9185-1E48311A9B5B}"/>
              </a:ext>
            </a:extLst>
          </p:cNvPr>
          <p:cNvSpPr/>
          <p:nvPr/>
        </p:nvSpPr>
        <p:spPr>
          <a:xfrm>
            <a:off x="7692400" y="2589708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63" name="직선 연결선 62">
            <a:extLst>
              <a:ext uri="{FF2B5EF4-FFF2-40B4-BE49-F238E27FC236}">
                <a16:creationId xmlns:a16="http://schemas.microsoft.com/office/drawing/2014/main" id="{88C2A627-DCFF-4A75-B241-29FC777BB8EE}"/>
              </a:ext>
            </a:extLst>
          </p:cNvPr>
          <p:cNvCxnSpPr>
            <a:cxnSpLocks/>
          </p:cNvCxnSpPr>
          <p:nvPr/>
        </p:nvCxnSpPr>
        <p:spPr>
          <a:xfrm>
            <a:off x="7636609" y="4159537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타원 76">
            <a:extLst>
              <a:ext uri="{FF2B5EF4-FFF2-40B4-BE49-F238E27FC236}">
                <a16:creationId xmlns:a16="http://schemas.microsoft.com/office/drawing/2014/main" id="{0FD9E35A-3E11-4310-98A7-D9045DC5B2A2}"/>
              </a:ext>
            </a:extLst>
          </p:cNvPr>
          <p:cNvSpPr/>
          <p:nvPr/>
        </p:nvSpPr>
        <p:spPr>
          <a:xfrm>
            <a:off x="7692400" y="4252397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5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E5D1DCB-20F0-4E5D-9860-9B893D9FEDFA}"/>
              </a:ext>
            </a:extLst>
          </p:cNvPr>
          <p:cNvSpPr txBox="1"/>
          <p:nvPr/>
        </p:nvSpPr>
        <p:spPr>
          <a:xfrm>
            <a:off x="4384804" y="741166"/>
            <a:ext cx="3130688" cy="113293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사용자 편의 또는 제도 변경으로 프로그램 변경이 필요한 경우에 요청합니다</a:t>
            </a:r>
            <a:r>
              <a:rPr lang="en-US" altLang="ko-KR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B9FDB33D-8BA9-4639-9539-175C413E0D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54300" y="2239742"/>
            <a:ext cx="3076670" cy="736568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46" name="자유형: 도형 45">
            <a:extLst>
              <a:ext uri="{FF2B5EF4-FFF2-40B4-BE49-F238E27FC236}">
                <a16:creationId xmlns:a16="http://schemas.microsoft.com/office/drawing/2014/main" id="{9B58D6BB-329E-4413-BE65-C49F232ADCAA}"/>
              </a:ext>
            </a:extLst>
          </p:cNvPr>
          <p:cNvSpPr/>
          <p:nvPr/>
        </p:nvSpPr>
        <p:spPr>
          <a:xfrm rot="1572586">
            <a:off x="3673641" y="2227925"/>
            <a:ext cx="385432" cy="482472"/>
          </a:xfrm>
          <a:custGeom>
            <a:avLst/>
            <a:gdLst>
              <a:gd name="connsiteX0" fmla="*/ 0 w 657380"/>
              <a:gd name="connsiteY0" fmla="*/ 0 h 684789"/>
              <a:gd name="connsiteX1" fmla="*/ 11037 w 657380"/>
              <a:gd name="connsiteY1" fmla="*/ 3668 h 684789"/>
              <a:gd name="connsiteX2" fmla="*/ 8532 w 657380"/>
              <a:gd name="connsiteY2" fmla="*/ 11573 h 684789"/>
              <a:gd name="connsiteX3" fmla="*/ 9280 w 657380"/>
              <a:gd name="connsiteY3" fmla="*/ 18674 h 684789"/>
              <a:gd name="connsiteX4" fmla="*/ 9281 w 657380"/>
              <a:gd name="connsiteY4" fmla="*/ 18674 h 684789"/>
              <a:gd name="connsiteX5" fmla="*/ 34683 w 657380"/>
              <a:gd name="connsiteY5" fmla="*/ 97656 h 684789"/>
              <a:gd name="connsiteX6" fmla="*/ 47126 w 657380"/>
              <a:gd name="connsiteY6" fmla="*/ 122140 h 684789"/>
              <a:gd name="connsiteX7" fmla="*/ 74579 w 657380"/>
              <a:gd name="connsiteY7" fmla="*/ 171743 h 684789"/>
              <a:gd name="connsiteX8" fmla="*/ 94082 w 657380"/>
              <a:gd name="connsiteY8" fmla="*/ 198437 h 684789"/>
              <a:gd name="connsiteX9" fmla="*/ 127971 w 657380"/>
              <a:gd name="connsiteY9" fmla="*/ 239850 h 684789"/>
              <a:gd name="connsiteX10" fmla="*/ 153059 w 657380"/>
              <a:gd name="connsiteY10" fmla="*/ 265146 h 684789"/>
              <a:gd name="connsiteX11" fmla="*/ 194020 w 657380"/>
              <a:gd name="connsiteY11" fmla="*/ 300926 h 684789"/>
              <a:gd name="connsiteX12" fmla="*/ 223423 w 657380"/>
              <a:gd name="connsiteY12" fmla="*/ 323210 h 684789"/>
              <a:gd name="connsiteX13" fmla="*/ 272343 w 657380"/>
              <a:gd name="connsiteY13" fmla="*/ 354011 h 684789"/>
              <a:gd name="connsiteX14" fmla="*/ 304229 w 657380"/>
              <a:gd name="connsiteY14" fmla="*/ 372058 h 684789"/>
              <a:gd name="connsiteX15" fmla="*/ 364466 w 657380"/>
              <a:gd name="connsiteY15" fmla="*/ 398536 h 684789"/>
              <a:gd name="connsiteX16" fmla="*/ 394452 w 657380"/>
              <a:gd name="connsiteY16" fmla="*/ 410763 h 684789"/>
              <a:gd name="connsiteX17" fmla="*/ 493035 w 657380"/>
              <a:gd name="connsiteY17" fmla="*/ 438272 h 684789"/>
              <a:gd name="connsiteX18" fmla="*/ 493035 w 657380"/>
              <a:gd name="connsiteY18" fmla="*/ 356099 h 684789"/>
              <a:gd name="connsiteX19" fmla="*/ 657380 w 657380"/>
              <a:gd name="connsiteY19" fmla="*/ 537091 h 684789"/>
              <a:gd name="connsiteX20" fmla="*/ 493035 w 657380"/>
              <a:gd name="connsiteY20" fmla="*/ 684789 h 684789"/>
              <a:gd name="connsiteX21" fmla="*/ 493035 w 657380"/>
              <a:gd name="connsiteY21" fmla="*/ 602617 h 684789"/>
              <a:gd name="connsiteX22" fmla="*/ 293551 w 657380"/>
              <a:gd name="connsiteY22" fmla="*/ 531710 h 684789"/>
              <a:gd name="connsiteX23" fmla="*/ 0 w 657380"/>
              <a:gd name="connsiteY23" fmla="*/ 95025 h 684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57380" h="684789">
                <a:moveTo>
                  <a:pt x="0" y="0"/>
                </a:moveTo>
                <a:lnTo>
                  <a:pt x="11037" y="3668"/>
                </a:lnTo>
                <a:lnTo>
                  <a:pt x="8532" y="11573"/>
                </a:lnTo>
                <a:lnTo>
                  <a:pt x="9280" y="18674"/>
                </a:lnTo>
                <a:lnTo>
                  <a:pt x="9281" y="18674"/>
                </a:lnTo>
                <a:lnTo>
                  <a:pt x="34683" y="97656"/>
                </a:lnTo>
                <a:lnTo>
                  <a:pt x="47126" y="122140"/>
                </a:lnTo>
                <a:lnTo>
                  <a:pt x="74579" y="171743"/>
                </a:lnTo>
                <a:lnTo>
                  <a:pt x="94082" y="198437"/>
                </a:lnTo>
                <a:lnTo>
                  <a:pt x="127971" y="239850"/>
                </a:lnTo>
                <a:lnTo>
                  <a:pt x="153059" y="265146"/>
                </a:lnTo>
                <a:lnTo>
                  <a:pt x="194020" y="300926"/>
                </a:lnTo>
                <a:lnTo>
                  <a:pt x="223423" y="323210"/>
                </a:lnTo>
                <a:lnTo>
                  <a:pt x="272343" y="354011"/>
                </a:lnTo>
                <a:lnTo>
                  <a:pt x="304229" y="372058"/>
                </a:lnTo>
                <a:lnTo>
                  <a:pt x="364466" y="398536"/>
                </a:lnTo>
                <a:lnTo>
                  <a:pt x="394452" y="410763"/>
                </a:lnTo>
                <a:lnTo>
                  <a:pt x="493035" y="438272"/>
                </a:lnTo>
                <a:lnTo>
                  <a:pt x="493035" y="356099"/>
                </a:lnTo>
                <a:lnTo>
                  <a:pt x="657380" y="537091"/>
                </a:lnTo>
                <a:lnTo>
                  <a:pt x="493035" y="684789"/>
                </a:lnTo>
                <a:lnTo>
                  <a:pt x="493035" y="602617"/>
                </a:lnTo>
                <a:cubicBezTo>
                  <a:pt x="420474" y="587676"/>
                  <a:pt x="353379" y="563422"/>
                  <a:pt x="293551" y="531710"/>
                </a:cubicBezTo>
                <a:cubicBezTo>
                  <a:pt x="114069" y="436573"/>
                  <a:pt x="0" y="274314"/>
                  <a:pt x="0" y="9502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cxnSp>
        <p:nvCxnSpPr>
          <p:cNvPr id="48" name="직선 연결선 47">
            <a:extLst>
              <a:ext uri="{FF2B5EF4-FFF2-40B4-BE49-F238E27FC236}">
                <a16:creationId xmlns:a16="http://schemas.microsoft.com/office/drawing/2014/main" id="{BCA041AC-C053-4DEF-B9E4-FD95738CBAB7}"/>
              </a:ext>
            </a:extLst>
          </p:cNvPr>
          <p:cNvCxnSpPr>
            <a:cxnSpLocks/>
          </p:cNvCxnSpPr>
          <p:nvPr/>
        </p:nvCxnSpPr>
        <p:spPr>
          <a:xfrm>
            <a:off x="7636609" y="1343812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타원 50">
            <a:extLst>
              <a:ext uri="{FF2B5EF4-FFF2-40B4-BE49-F238E27FC236}">
                <a16:creationId xmlns:a16="http://schemas.microsoft.com/office/drawing/2014/main" id="{108E33C4-C940-4664-9E7D-F4FA712C3239}"/>
              </a:ext>
            </a:extLst>
          </p:cNvPr>
          <p:cNvSpPr/>
          <p:nvPr/>
        </p:nvSpPr>
        <p:spPr>
          <a:xfrm>
            <a:off x="7692400" y="1436672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55" name="타원 54">
            <a:extLst>
              <a:ext uri="{FF2B5EF4-FFF2-40B4-BE49-F238E27FC236}">
                <a16:creationId xmlns:a16="http://schemas.microsoft.com/office/drawing/2014/main" id="{64F234D4-066E-48FF-A076-92638CB96263}"/>
              </a:ext>
            </a:extLst>
          </p:cNvPr>
          <p:cNvSpPr/>
          <p:nvPr/>
        </p:nvSpPr>
        <p:spPr>
          <a:xfrm>
            <a:off x="3977544" y="2182189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76F90DB1-3179-4170-B6BA-1A0F1051F6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0571" y="900062"/>
            <a:ext cx="3876866" cy="881920"/>
          </a:xfrm>
          <a:prstGeom prst="rect">
            <a:avLst/>
          </a:prstGeom>
        </p:spPr>
      </p:pic>
      <p:sp>
        <p:nvSpPr>
          <p:cNvPr id="47" name="타원 46">
            <a:extLst>
              <a:ext uri="{FF2B5EF4-FFF2-40B4-BE49-F238E27FC236}">
                <a16:creationId xmlns:a16="http://schemas.microsoft.com/office/drawing/2014/main" id="{EF7C6F97-6BBB-410B-9BF1-0457C5686F2E}"/>
              </a:ext>
            </a:extLst>
          </p:cNvPr>
          <p:cNvSpPr/>
          <p:nvPr/>
        </p:nvSpPr>
        <p:spPr>
          <a:xfrm>
            <a:off x="1693534" y="673431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5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105756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A2E573C3-2E07-46DC-A484-81B345FA4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16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48389E4-9BF2-437B-83E2-FE8E6CF2D9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GUIDE-REQUEST-05</a:t>
            </a:r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94AC05BA-9838-4A6E-9C97-DDDB7EFEA7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서비스 요청 </a:t>
            </a:r>
            <a:r>
              <a:rPr lang="en-US" altLang="ko-KR" dirty="0"/>
              <a:t>– </a:t>
            </a:r>
            <a:r>
              <a:rPr lang="ko-KR" altLang="en-US" dirty="0"/>
              <a:t>데이터 요청</a:t>
            </a:r>
          </a:p>
        </p:txBody>
      </p:sp>
      <p:sp>
        <p:nvSpPr>
          <p:cNvPr id="45" name="텍스트 개체 틀 25">
            <a:extLst>
              <a:ext uri="{FF2B5EF4-FFF2-40B4-BE49-F238E27FC236}">
                <a16:creationId xmlns:a16="http://schemas.microsoft.com/office/drawing/2014/main" id="{D6608DD2-183F-4BB9-A9B4-10047D29D1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01463" y="671500"/>
            <a:ext cx="2371266" cy="6325146"/>
          </a:xfrm>
        </p:spPr>
        <p:txBody>
          <a:bodyPr/>
          <a:lstStyle/>
          <a:p>
            <a:r>
              <a:rPr lang="en-US" altLang="ko-KR" dirty="0"/>
              <a:t>[</a:t>
            </a:r>
            <a:r>
              <a:rPr lang="ko-KR" altLang="en-US" dirty="0"/>
              <a:t>필수</a:t>
            </a:r>
            <a:r>
              <a:rPr lang="en-US" altLang="ko-KR" dirty="0"/>
              <a:t>] </a:t>
            </a:r>
            <a:r>
              <a:rPr lang="ko-KR" altLang="en-US" dirty="0"/>
              <a:t>서비스를 요청하는 시스템을 검색하여 선택합니다</a:t>
            </a:r>
            <a:r>
              <a:rPr lang="en-US" altLang="ko-KR" dirty="0"/>
              <a:t>. </a:t>
            </a:r>
            <a:r>
              <a:rPr lang="ko-KR" altLang="en-US" dirty="0"/>
              <a:t>입력창이나 검색 버튼을 클릭하면 서비스</a:t>
            </a:r>
            <a:r>
              <a:rPr lang="en-US" altLang="ko-KR" dirty="0"/>
              <a:t>/</a:t>
            </a:r>
            <a:r>
              <a:rPr lang="ko-KR" altLang="en-US" dirty="0"/>
              <a:t>어플리케이션을 검색할 수 있는 화면이 보여집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요청하는 서비스가 데이터 수정인지 추출인지 선택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요청하는 데이터가 민감정보를 포함하고 있는지를 선택합니다</a:t>
            </a:r>
            <a:r>
              <a:rPr lang="en-US" altLang="ko-KR" dirty="0"/>
              <a:t>. 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민감정보를 포함한 경우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민감정보 선택 </a:t>
            </a:r>
            <a:r>
              <a:rPr lang="en-US" altLang="ko-KR" dirty="0">
                <a:sym typeface="Wingdings" panose="05000000000000000000" pitchFamily="2" charset="2"/>
              </a:rPr>
              <a:t> AP-ON </a:t>
            </a:r>
            <a:r>
              <a:rPr lang="ko-KR" altLang="en-US" dirty="0">
                <a:sym typeface="Wingdings" panose="05000000000000000000" pitchFamily="2" charset="2"/>
              </a:rPr>
              <a:t>전자결재 상신 </a:t>
            </a:r>
            <a:r>
              <a:rPr lang="ko-KR" altLang="en-US" dirty="0" err="1">
                <a:sym typeface="Wingdings" panose="05000000000000000000" pitchFamily="2" charset="2"/>
              </a:rPr>
              <a:t>선처리</a:t>
            </a:r>
            <a:endParaRPr lang="en-US" altLang="ko-KR" dirty="0">
              <a:sym typeface="Wingdings" panose="05000000000000000000" pitchFamily="2" charset="2"/>
            </a:endParaRP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>
                <a:sym typeface="Wingdings" panose="05000000000000000000" pitchFamily="2" charset="2"/>
              </a:rPr>
              <a:t>민감정보를 포함하지 않은 경우 </a:t>
            </a:r>
            <a:r>
              <a:rPr lang="en-US" altLang="ko-KR" dirty="0">
                <a:sym typeface="Wingdings" panose="05000000000000000000" pitchFamily="2" charset="2"/>
              </a:rPr>
              <a:t> IT</a:t>
            </a:r>
            <a:r>
              <a:rPr lang="ko-KR" altLang="en-US" dirty="0">
                <a:sym typeface="Wingdings" panose="05000000000000000000" pitchFamily="2" charset="2"/>
              </a:rPr>
              <a:t> </a:t>
            </a:r>
            <a:r>
              <a:rPr lang="en-US" altLang="ko-KR" dirty="0">
                <a:sym typeface="Wingdings" panose="05000000000000000000" pitchFamily="2" charset="2"/>
              </a:rPr>
              <a:t>Helpdesk </a:t>
            </a:r>
            <a:r>
              <a:rPr lang="ko-KR" altLang="en-US" dirty="0">
                <a:sym typeface="Wingdings" panose="05000000000000000000" pitchFamily="2" charset="2"/>
              </a:rPr>
              <a:t>기본 </a:t>
            </a:r>
            <a:r>
              <a:rPr lang="en-US" altLang="ko-KR" dirty="0">
                <a:sym typeface="Wingdings" panose="05000000000000000000" pitchFamily="2" charset="2"/>
              </a:rPr>
              <a:t>Workflow </a:t>
            </a:r>
            <a:r>
              <a:rPr lang="ko-KR" altLang="en-US" dirty="0">
                <a:sym typeface="Wingdings" panose="05000000000000000000" pitchFamily="2" charset="2"/>
              </a:rPr>
              <a:t>결재 </a:t>
            </a:r>
            <a:r>
              <a:rPr lang="ko-KR" altLang="en-US" dirty="0" err="1">
                <a:sym typeface="Wingdings" panose="05000000000000000000" pitchFamily="2" charset="2"/>
              </a:rPr>
              <a:t>선처리</a:t>
            </a:r>
            <a:endParaRPr lang="en-US" altLang="ko-KR" dirty="0"/>
          </a:p>
          <a:p>
            <a:r>
              <a:rPr lang="ko-KR" altLang="en-US" dirty="0"/>
              <a:t>요청하는 데이터에 민감정보가 포함되지 않은 경우 </a:t>
            </a:r>
            <a:r>
              <a:rPr lang="en-US" altLang="ko-KR" dirty="0"/>
              <a:t>IT Helpdesk Workflow </a:t>
            </a:r>
            <a:r>
              <a:rPr lang="ko-KR" altLang="en-US" dirty="0"/>
              <a:t>결재선을 지정합니다</a:t>
            </a:r>
            <a:r>
              <a:rPr lang="en-US" altLang="ko-KR" dirty="0"/>
              <a:t>.</a:t>
            </a:r>
          </a:p>
          <a:p>
            <a:pPr>
              <a:spcBef>
                <a:spcPts val="200"/>
              </a:spcBef>
            </a:pPr>
            <a:r>
              <a:rPr lang="ko-KR" altLang="en-US" dirty="0"/>
              <a:t>결재자 지정은은 이름으로 검색하여 지정합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[</a:t>
            </a:r>
            <a:r>
              <a:rPr lang="ko-KR" altLang="en-US" dirty="0"/>
              <a:t>필수</a:t>
            </a:r>
            <a:r>
              <a:rPr lang="en-US" altLang="ko-KR" dirty="0"/>
              <a:t>/</a:t>
            </a:r>
            <a:r>
              <a:rPr lang="ko-KR" altLang="en-US" dirty="0"/>
              <a:t>공통</a:t>
            </a:r>
            <a:r>
              <a:rPr lang="en-US" altLang="ko-KR" dirty="0"/>
              <a:t>] </a:t>
            </a:r>
            <a:r>
              <a:rPr lang="ko-KR" altLang="en-US" dirty="0"/>
              <a:t>제목과 설명을 입력합니다</a:t>
            </a:r>
            <a:r>
              <a:rPr lang="en-US" altLang="ko-KR" dirty="0"/>
              <a:t>. </a:t>
            </a:r>
            <a:r>
              <a:rPr lang="ko-KR" altLang="en-US" dirty="0"/>
              <a:t>모든 요청화면에서 동일한 항목이 보여집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[</a:t>
            </a:r>
            <a:r>
              <a:rPr lang="ko-KR" altLang="en-US" dirty="0"/>
              <a:t>선택</a:t>
            </a:r>
            <a:r>
              <a:rPr lang="en-US" altLang="ko-KR" dirty="0"/>
              <a:t>/</a:t>
            </a:r>
            <a:r>
              <a:rPr lang="ko-KR" altLang="en-US" dirty="0"/>
              <a:t>공통</a:t>
            </a:r>
            <a:r>
              <a:rPr lang="en-US" altLang="ko-KR" dirty="0"/>
              <a:t>] </a:t>
            </a:r>
            <a:r>
              <a:rPr lang="ko-KR" altLang="en-US" dirty="0"/>
              <a:t>모든 요청화면에서 동일한 항목이 보여집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사용자가 신청하는 요청에 대하여 참조가 필요한 참조자를 지정합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서비스 요청에 대한 희망 완료일을 지정합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사용자가 신청하는 요청에 대하여 실 요청자가 다른 경우 지정합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참조할 파일이 있는 경우 추가하여 첨부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제출 버튼을 클릭하여 서비스 요청을 등록합니다</a:t>
            </a:r>
            <a:r>
              <a:rPr lang="en-US" altLang="ko-KR" dirty="0"/>
              <a:t>.</a:t>
            </a: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E9F120D1-FD4A-4145-93E4-4D4CF6EC9BD2}"/>
              </a:ext>
            </a:extLst>
          </p:cNvPr>
          <p:cNvGrpSpPr/>
          <p:nvPr/>
        </p:nvGrpSpPr>
        <p:grpSpPr>
          <a:xfrm>
            <a:off x="351399" y="840876"/>
            <a:ext cx="3951852" cy="6168962"/>
            <a:chOff x="271012" y="845214"/>
            <a:chExt cx="3951852" cy="6168962"/>
          </a:xfrm>
        </p:grpSpPr>
        <p:pic>
          <p:nvPicPr>
            <p:cNvPr id="6" name="그림 5">
              <a:extLst>
                <a:ext uri="{FF2B5EF4-FFF2-40B4-BE49-F238E27FC236}">
                  <a16:creationId xmlns:a16="http://schemas.microsoft.com/office/drawing/2014/main" id="{6656964F-4759-48A0-8498-2941220E62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74370" y="845214"/>
              <a:ext cx="3948494" cy="3581400"/>
            </a:xfrm>
            <a:prstGeom prst="rect">
              <a:avLst/>
            </a:prstGeom>
          </p:spPr>
        </p:pic>
        <p:pic>
          <p:nvPicPr>
            <p:cNvPr id="7" name="그림 6">
              <a:extLst>
                <a:ext uri="{FF2B5EF4-FFF2-40B4-BE49-F238E27FC236}">
                  <a16:creationId xmlns:a16="http://schemas.microsoft.com/office/drawing/2014/main" id="{C62593A7-D461-4C3E-B88D-F5C8784A054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1012" y="4426614"/>
              <a:ext cx="3917156" cy="2587562"/>
            </a:xfrm>
            <a:prstGeom prst="rect">
              <a:avLst/>
            </a:prstGeom>
          </p:spPr>
        </p:pic>
      </p:grpSp>
      <p:sp>
        <p:nvSpPr>
          <p:cNvPr id="38" name="사각형: 둥근 모서리 37">
            <a:extLst>
              <a:ext uri="{FF2B5EF4-FFF2-40B4-BE49-F238E27FC236}">
                <a16:creationId xmlns:a16="http://schemas.microsoft.com/office/drawing/2014/main" id="{88A2BD3B-1128-4170-8A18-94A5432A8639}"/>
              </a:ext>
            </a:extLst>
          </p:cNvPr>
          <p:cNvSpPr/>
          <p:nvPr/>
        </p:nvSpPr>
        <p:spPr>
          <a:xfrm>
            <a:off x="351399" y="1798654"/>
            <a:ext cx="3917156" cy="499061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9" name="사각형: 둥근 모서리 38">
            <a:extLst>
              <a:ext uri="{FF2B5EF4-FFF2-40B4-BE49-F238E27FC236}">
                <a16:creationId xmlns:a16="http://schemas.microsoft.com/office/drawing/2014/main" id="{2DE24DFB-A4E2-47A4-A286-D05E73DD62A8}"/>
              </a:ext>
            </a:extLst>
          </p:cNvPr>
          <p:cNvSpPr/>
          <p:nvPr/>
        </p:nvSpPr>
        <p:spPr>
          <a:xfrm>
            <a:off x="351399" y="2337907"/>
            <a:ext cx="3917156" cy="2084369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0B4462CD-E806-4528-9160-A1478147FEBE}"/>
              </a:ext>
            </a:extLst>
          </p:cNvPr>
          <p:cNvSpPr/>
          <p:nvPr/>
        </p:nvSpPr>
        <p:spPr>
          <a:xfrm>
            <a:off x="351399" y="4462468"/>
            <a:ext cx="3917156" cy="410983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F56137FB-6B11-4350-9164-5BBA31406C73}"/>
              </a:ext>
            </a:extLst>
          </p:cNvPr>
          <p:cNvSpPr/>
          <p:nvPr/>
        </p:nvSpPr>
        <p:spPr>
          <a:xfrm>
            <a:off x="351399" y="4901078"/>
            <a:ext cx="3917156" cy="585322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5A93773E-8805-4E5E-8635-B19356A4BB16}"/>
              </a:ext>
            </a:extLst>
          </p:cNvPr>
          <p:cNvSpPr/>
          <p:nvPr/>
        </p:nvSpPr>
        <p:spPr>
          <a:xfrm>
            <a:off x="349405" y="5532107"/>
            <a:ext cx="3917156" cy="537097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EC19E12D-B32D-4CC3-B69A-50D6DD430854}"/>
              </a:ext>
            </a:extLst>
          </p:cNvPr>
          <p:cNvSpPr/>
          <p:nvPr/>
        </p:nvSpPr>
        <p:spPr>
          <a:xfrm>
            <a:off x="349405" y="6107021"/>
            <a:ext cx="3917156" cy="464602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타원 48">
            <a:extLst>
              <a:ext uri="{FF2B5EF4-FFF2-40B4-BE49-F238E27FC236}">
                <a16:creationId xmlns:a16="http://schemas.microsoft.com/office/drawing/2014/main" id="{5721B01B-D364-483F-B21C-BF68A0CC65EF}"/>
              </a:ext>
            </a:extLst>
          </p:cNvPr>
          <p:cNvSpPr/>
          <p:nvPr/>
        </p:nvSpPr>
        <p:spPr>
          <a:xfrm>
            <a:off x="280965" y="1801793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50" name="타원 49">
            <a:extLst>
              <a:ext uri="{FF2B5EF4-FFF2-40B4-BE49-F238E27FC236}">
                <a16:creationId xmlns:a16="http://schemas.microsoft.com/office/drawing/2014/main" id="{564AE9D5-2902-4AB3-8546-ACB79E6A9243}"/>
              </a:ext>
            </a:extLst>
          </p:cNvPr>
          <p:cNvSpPr/>
          <p:nvPr/>
        </p:nvSpPr>
        <p:spPr>
          <a:xfrm>
            <a:off x="268360" y="2392644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52" name="타원 51">
            <a:extLst>
              <a:ext uri="{FF2B5EF4-FFF2-40B4-BE49-F238E27FC236}">
                <a16:creationId xmlns:a16="http://schemas.microsoft.com/office/drawing/2014/main" id="{A2276E95-4EDA-4988-9757-3328EFD96C39}"/>
              </a:ext>
            </a:extLst>
          </p:cNvPr>
          <p:cNvSpPr/>
          <p:nvPr/>
        </p:nvSpPr>
        <p:spPr>
          <a:xfrm>
            <a:off x="268360" y="4477013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53" name="타원 52">
            <a:extLst>
              <a:ext uri="{FF2B5EF4-FFF2-40B4-BE49-F238E27FC236}">
                <a16:creationId xmlns:a16="http://schemas.microsoft.com/office/drawing/2014/main" id="{C2B7E5B2-95D2-4977-9363-BB8000E70349}"/>
              </a:ext>
            </a:extLst>
          </p:cNvPr>
          <p:cNvSpPr/>
          <p:nvPr/>
        </p:nvSpPr>
        <p:spPr>
          <a:xfrm>
            <a:off x="276121" y="4939173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5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54" name="타원 53">
            <a:extLst>
              <a:ext uri="{FF2B5EF4-FFF2-40B4-BE49-F238E27FC236}">
                <a16:creationId xmlns:a16="http://schemas.microsoft.com/office/drawing/2014/main" id="{9C149488-8A08-49D5-AF5C-971E89D4C941}"/>
              </a:ext>
            </a:extLst>
          </p:cNvPr>
          <p:cNvSpPr/>
          <p:nvPr/>
        </p:nvSpPr>
        <p:spPr>
          <a:xfrm>
            <a:off x="253079" y="5563025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6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56" name="타원 55">
            <a:extLst>
              <a:ext uri="{FF2B5EF4-FFF2-40B4-BE49-F238E27FC236}">
                <a16:creationId xmlns:a16="http://schemas.microsoft.com/office/drawing/2014/main" id="{03CFECCC-F01B-49EB-B238-BCF8AD123860}"/>
              </a:ext>
            </a:extLst>
          </p:cNvPr>
          <p:cNvSpPr/>
          <p:nvPr/>
        </p:nvSpPr>
        <p:spPr>
          <a:xfrm>
            <a:off x="274883" y="6114911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7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57" name="직선 연결선 56">
            <a:extLst>
              <a:ext uri="{FF2B5EF4-FFF2-40B4-BE49-F238E27FC236}">
                <a16:creationId xmlns:a16="http://schemas.microsoft.com/office/drawing/2014/main" id="{694C5368-ECC4-4A82-BCDB-E3027A7B509B}"/>
              </a:ext>
            </a:extLst>
          </p:cNvPr>
          <p:cNvCxnSpPr>
            <a:cxnSpLocks/>
          </p:cNvCxnSpPr>
          <p:nvPr/>
        </p:nvCxnSpPr>
        <p:spPr>
          <a:xfrm>
            <a:off x="7627576" y="3504883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타원 57">
            <a:extLst>
              <a:ext uri="{FF2B5EF4-FFF2-40B4-BE49-F238E27FC236}">
                <a16:creationId xmlns:a16="http://schemas.microsoft.com/office/drawing/2014/main" id="{21BB2DB5-5B4D-48A6-8136-61BD5D06A01E}"/>
              </a:ext>
            </a:extLst>
          </p:cNvPr>
          <p:cNvSpPr/>
          <p:nvPr/>
        </p:nvSpPr>
        <p:spPr>
          <a:xfrm>
            <a:off x="7692400" y="76436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60" name="타원 59">
            <a:extLst>
              <a:ext uri="{FF2B5EF4-FFF2-40B4-BE49-F238E27FC236}">
                <a16:creationId xmlns:a16="http://schemas.microsoft.com/office/drawing/2014/main" id="{DBB26A6B-DA24-4477-8025-278606E9F3FD}"/>
              </a:ext>
            </a:extLst>
          </p:cNvPr>
          <p:cNvSpPr/>
          <p:nvPr/>
        </p:nvSpPr>
        <p:spPr>
          <a:xfrm>
            <a:off x="7683367" y="3597743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5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61" name="직선 연결선 60">
            <a:extLst>
              <a:ext uri="{FF2B5EF4-FFF2-40B4-BE49-F238E27FC236}">
                <a16:creationId xmlns:a16="http://schemas.microsoft.com/office/drawing/2014/main" id="{D3EF3F10-471A-4979-BCE4-1DCD41E488A1}"/>
              </a:ext>
            </a:extLst>
          </p:cNvPr>
          <p:cNvCxnSpPr>
            <a:cxnSpLocks/>
          </p:cNvCxnSpPr>
          <p:nvPr/>
        </p:nvCxnSpPr>
        <p:spPr>
          <a:xfrm>
            <a:off x="7636609" y="3957315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타원 61">
            <a:extLst>
              <a:ext uri="{FF2B5EF4-FFF2-40B4-BE49-F238E27FC236}">
                <a16:creationId xmlns:a16="http://schemas.microsoft.com/office/drawing/2014/main" id="{3B6FF236-8D28-40D2-9185-1E48311A9B5B}"/>
              </a:ext>
            </a:extLst>
          </p:cNvPr>
          <p:cNvSpPr/>
          <p:nvPr/>
        </p:nvSpPr>
        <p:spPr>
          <a:xfrm>
            <a:off x="7692400" y="4050175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6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63" name="직선 연결선 62">
            <a:extLst>
              <a:ext uri="{FF2B5EF4-FFF2-40B4-BE49-F238E27FC236}">
                <a16:creationId xmlns:a16="http://schemas.microsoft.com/office/drawing/2014/main" id="{88C2A627-DCFF-4A75-B241-29FC777BB8EE}"/>
              </a:ext>
            </a:extLst>
          </p:cNvPr>
          <p:cNvCxnSpPr>
            <a:cxnSpLocks/>
          </p:cNvCxnSpPr>
          <p:nvPr/>
        </p:nvCxnSpPr>
        <p:spPr>
          <a:xfrm>
            <a:off x="7636609" y="5591817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타원 76">
            <a:extLst>
              <a:ext uri="{FF2B5EF4-FFF2-40B4-BE49-F238E27FC236}">
                <a16:creationId xmlns:a16="http://schemas.microsoft.com/office/drawing/2014/main" id="{0FD9E35A-3E11-4310-98A7-D9045DC5B2A2}"/>
              </a:ext>
            </a:extLst>
          </p:cNvPr>
          <p:cNvSpPr/>
          <p:nvPr/>
        </p:nvSpPr>
        <p:spPr>
          <a:xfrm>
            <a:off x="7692400" y="5684677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7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E5D1DCB-20F0-4E5D-9860-9B893D9FEDFA}"/>
              </a:ext>
            </a:extLst>
          </p:cNvPr>
          <p:cNvSpPr txBox="1"/>
          <p:nvPr/>
        </p:nvSpPr>
        <p:spPr>
          <a:xfrm>
            <a:off x="4384804" y="741166"/>
            <a:ext cx="3130688" cy="7728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대량 데이터 추출 및 수정이 필요한 경우에 요청합니다</a:t>
            </a:r>
            <a:r>
              <a:rPr lang="en-US" altLang="ko-KR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</a:t>
            </a:r>
          </a:p>
        </p:txBody>
      </p:sp>
      <p:cxnSp>
        <p:nvCxnSpPr>
          <p:cNvPr id="48" name="직선 연결선 47">
            <a:extLst>
              <a:ext uri="{FF2B5EF4-FFF2-40B4-BE49-F238E27FC236}">
                <a16:creationId xmlns:a16="http://schemas.microsoft.com/office/drawing/2014/main" id="{BCA041AC-C053-4DEF-B9E4-FD95738CBAB7}"/>
              </a:ext>
            </a:extLst>
          </p:cNvPr>
          <p:cNvCxnSpPr>
            <a:cxnSpLocks/>
          </p:cNvCxnSpPr>
          <p:nvPr/>
        </p:nvCxnSpPr>
        <p:spPr>
          <a:xfrm>
            <a:off x="7636609" y="1343812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타원 50">
            <a:extLst>
              <a:ext uri="{FF2B5EF4-FFF2-40B4-BE49-F238E27FC236}">
                <a16:creationId xmlns:a16="http://schemas.microsoft.com/office/drawing/2014/main" id="{108E33C4-C940-4664-9E7D-F4FA712C3239}"/>
              </a:ext>
            </a:extLst>
          </p:cNvPr>
          <p:cNvSpPr/>
          <p:nvPr/>
        </p:nvSpPr>
        <p:spPr>
          <a:xfrm>
            <a:off x="7692400" y="1436672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72DBE087-4E09-42FD-9452-CAC13FCF880B}"/>
              </a:ext>
            </a:extLst>
          </p:cNvPr>
          <p:cNvSpPr/>
          <p:nvPr/>
        </p:nvSpPr>
        <p:spPr>
          <a:xfrm>
            <a:off x="166671" y="3666009"/>
            <a:ext cx="7259061" cy="1347990"/>
          </a:xfrm>
          <a:prstGeom prst="rect">
            <a:avLst/>
          </a:prstGeom>
          <a:solidFill>
            <a:srgbClr val="FF0000">
              <a:alpha val="30000"/>
            </a:srgbClr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ko-KR" altLang="en-US" sz="4000" dirty="0">
                <a:solidFill>
                  <a:schemeClr val="bg1"/>
                </a:solidFill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rPr>
              <a:t>캡쳐 이미지 변경 필요</a:t>
            </a:r>
          </a:p>
        </p:txBody>
      </p:sp>
      <p:cxnSp>
        <p:nvCxnSpPr>
          <p:cNvPr id="47" name="직선 연결선 46">
            <a:extLst>
              <a:ext uri="{FF2B5EF4-FFF2-40B4-BE49-F238E27FC236}">
                <a16:creationId xmlns:a16="http://schemas.microsoft.com/office/drawing/2014/main" id="{9609BBB9-A32B-4568-9FAE-10FCA1815879}"/>
              </a:ext>
            </a:extLst>
          </p:cNvPr>
          <p:cNvCxnSpPr>
            <a:cxnSpLocks/>
          </p:cNvCxnSpPr>
          <p:nvPr/>
        </p:nvCxnSpPr>
        <p:spPr>
          <a:xfrm>
            <a:off x="7636609" y="1764887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타원 58">
            <a:extLst>
              <a:ext uri="{FF2B5EF4-FFF2-40B4-BE49-F238E27FC236}">
                <a16:creationId xmlns:a16="http://schemas.microsoft.com/office/drawing/2014/main" id="{C657BC66-8F91-4E50-A47C-D2C87C8A9F1F}"/>
              </a:ext>
            </a:extLst>
          </p:cNvPr>
          <p:cNvSpPr/>
          <p:nvPr/>
        </p:nvSpPr>
        <p:spPr>
          <a:xfrm>
            <a:off x="7692400" y="1857747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64" name="타원 63">
            <a:extLst>
              <a:ext uri="{FF2B5EF4-FFF2-40B4-BE49-F238E27FC236}">
                <a16:creationId xmlns:a16="http://schemas.microsoft.com/office/drawing/2014/main" id="{76841107-CD25-4B35-80B0-E45000C8040A}"/>
              </a:ext>
            </a:extLst>
          </p:cNvPr>
          <p:cNvSpPr/>
          <p:nvPr/>
        </p:nvSpPr>
        <p:spPr>
          <a:xfrm>
            <a:off x="7693940" y="295332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65" name="직선 연결선 64">
            <a:extLst>
              <a:ext uri="{FF2B5EF4-FFF2-40B4-BE49-F238E27FC236}">
                <a16:creationId xmlns:a16="http://schemas.microsoft.com/office/drawing/2014/main" id="{549BD500-AD1C-4E67-9A4D-4B4C78447A9D}"/>
              </a:ext>
            </a:extLst>
          </p:cNvPr>
          <p:cNvCxnSpPr>
            <a:cxnSpLocks/>
          </p:cNvCxnSpPr>
          <p:nvPr/>
        </p:nvCxnSpPr>
        <p:spPr>
          <a:xfrm>
            <a:off x="7627576" y="2798892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57481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A2E573C3-2E07-46DC-A484-81B345FA4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17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48389E4-9BF2-437B-83E2-FE8E6CF2D9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GUIDE-REQUEST-06</a:t>
            </a:r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94AC05BA-9838-4A6E-9C97-DDDB7EFEA7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서비스 요청 </a:t>
            </a:r>
            <a:r>
              <a:rPr lang="en-US" altLang="ko-KR" dirty="0"/>
              <a:t>– IT </a:t>
            </a:r>
            <a:r>
              <a:rPr lang="ko-KR" altLang="en-US" dirty="0"/>
              <a:t>기기 신청</a:t>
            </a:r>
          </a:p>
        </p:txBody>
      </p:sp>
      <p:sp>
        <p:nvSpPr>
          <p:cNvPr id="45" name="텍스트 개체 틀 25">
            <a:extLst>
              <a:ext uri="{FF2B5EF4-FFF2-40B4-BE49-F238E27FC236}">
                <a16:creationId xmlns:a16="http://schemas.microsoft.com/office/drawing/2014/main" id="{D6608DD2-183F-4BB9-A9B4-10047D29D1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01463" y="671500"/>
            <a:ext cx="2371266" cy="6325146"/>
          </a:xfrm>
        </p:spPr>
        <p:txBody>
          <a:bodyPr/>
          <a:lstStyle/>
          <a:p>
            <a:r>
              <a:rPr lang="en-US" altLang="ko-KR" dirty="0"/>
              <a:t>[</a:t>
            </a:r>
            <a:r>
              <a:rPr lang="ko-KR" altLang="en-US" dirty="0"/>
              <a:t>필수</a:t>
            </a:r>
            <a:r>
              <a:rPr lang="en-US" altLang="ko-KR" dirty="0"/>
              <a:t>] </a:t>
            </a:r>
            <a:r>
              <a:rPr lang="ko-KR" altLang="en-US" dirty="0"/>
              <a:t>접수 유형을 선택합니다</a:t>
            </a:r>
            <a:r>
              <a:rPr lang="en-US" altLang="ko-KR" dirty="0"/>
              <a:t>.</a:t>
            </a:r>
          </a:p>
          <a:p>
            <a:pPr>
              <a:spcBef>
                <a:spcPts val="200"/>
              </a:spcBef>
            </a:pPr>
            <a:r>
              <a:rPr lang="ko-KR" altLang="en-US" dirty="0"/>
              <a:t>유형</a:t>
            </a:r>
            <a:r>
              <a:rPr lang="en-US" altLang="ko-KR" dirty="0"/>
              <a:t>: </a:t>
            </a:r>
            <a:r>
              <a:rPr lang="ko-KR" altLang="en-US" dirty="0"/>
              <a:t>신규</a:t>
            </a:r>
            <a:r>
              <a:rPr lang="en-US" altLang="ko-KR" dirty="0"/>
              <a:t>, </a:t>
            </a:r>
            <a:r>
              <a:rPr lang="ko-KR" altLang="en-US" dirty="0"/>
              <a:t>교체</a:t>
            </a:r>
            <a:r>
              <a:rPr lang="en-US" altLang="ko-KR" dirty="0"/>
              <a:t>, </a:t>
            </a:r>
            <a:r>
              <a:rPr lang="ko-KR" altLang="en-US" dirty="0"/>
              <a:t>이동</a:t>
            </a:r>
            <a:r>
              <a:rPr lang="en-US" altLang="ko-KR" dirty="0"/>
              <a:t>/</a:t>
            </a:r>
            <a:r>
              <a:rPr lang="ko-KR" altLang="en-US" dirty="0"/>
              <a:t>철수</a:t>
            </a:r>
            <a:r>
              <a:rPr lang="en-US" altLang="ko-KR" dirty="0"/>
              <a:t>, </a:t>
            </a:r>
            <a:r>
              <a:rPr lang="ko-KR" altLang="en-US" dirty="0"/>
              <a:t>예방점검</a:t>
            </a:r>
            <a:r>
              <a:rPr lang="en-US" altLang="ko-KR" dirty="0"/>
              <a:t>, </a:t>
            </a:r>
            <a:r>
              <a:rPr lang="ko-KR" altLang="en-US" dirty="0"/>
              <a:t>자산정보 등록</a:t>
            </a:r>
            <a:r>
              <a:rPr lang="en-US" altLang="ko-KR" dirty="0"/>
              <a:t>/</a:t>
            </a:r>
            <a:r>
              <a:rPr lang="ko-KR" altLang="en-US" dirty="0"/>
              <a:t>변경</a:t>
            </a:r>
            <a:endParaRPr lang="en-US" altLang="ko-KR" dirty="0"/>
          </a:p>
          <a:p>
            <a:r>
              <a:rPr lang="en-US" altLang="ko-KR" dirty="0"/>
              <a:t>[</a:t>
            </a:r>
            <a:r>
              <a:rPr lang="ko-KR" altLang="en-US" dirty="0"/>
              <a:t>필수</a:t>
            </a:r>
            <a:r>
              <a:rPr lang="en-US" altLang="ko-KR" dirty="0"/>
              <a:t>] </a:t>
            </a:r>
            <a:r>
              <a:rPr lang="ko-KR" altLang="en-US" dirty="0"/>
              <a:t>결재선을 지정합니다</a:t>
            </a:r>
            <a:r>
              <a:rPr lang="en-US" altLang="ko-KR" dirty="0"/>
              <a:t>. </a:t>
            </a:r>
            <a:r>
              <a:rPr lang="ko-KR" altLang="en-US" dirty="0"/>
              <a:t>결재자 지정은은 이름으로 검색하여 지정합니다</a:t>
            </a:r>
            <a:endParaRPr lang="en-US" altLang="ko-KR" dirty="0"/>
          </a:p>
          <a:p>
            <a:r>
              <a:rPr lang="en-US" altLang="ko-KR" dirty="0"/>
              <a:t>[</a:t>
            </a:r>
            <a:r>
              <a:rPr lang="ko-KR" altLang="en-US" dirty="0"/>
              <a:t>필수</a:t>
            </a:r>
            <a:r>
              <a:rPr lang="en-US" altLang="ko-KR" dirty="0"/>
              <a:t>] </a:t>
            </a:r>
            <a:r>
              <a:rPr lang="ko-KR" altLang="en-US" dirty="0"/>
              <a:t>요청 품목과 상세 품목을 지정합니다</a:t>
            </a:r>
            <a:r>
              <a:rPr lang="en-US" altLang="ko-KR" dirty="0"/>
              <a:t>. </a:t>
            </a:r>
            <a:r>
              <a:rPr lang="ko-KR" altLang="en-US" dirty="0"/>
              <a:t>요청 품목을 선택하면 선택한 품목의 상세 품목이 보여집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IT</a:t>
            </a:r>
            <a:r>
              <a:rPr lang="ko-KR" altLang="en-US" dirty="0"/>
              <a:t> 기기를 신청하는 주소를 입력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필수</a:t>
            </a:r>
            <a:r>
              <a:rPr lang="en-US" altLang="ko-KR" dirty="0"/>
              <a:t>/</a:t>
            </a:r>
            <a:r>
              <a:rPr lang="ko-KR" altLang="en-US" dirty="0"/>
              <a:t>공통</a:t>
            </a:r>
            <a:r>
              <a:rPr lang="en-US" altLang="ko-KR" dirty="0"/>
              <a:t>] </a:t>
            </a:r>
            <a:r>
              <a:rPr lang="ko-KR" altLang="en-US" dirty="0"/>
              <a:t>제목과 설명을 입력합니다</a:t>
            </a:r>
            <a:r>
              <a:rPr lang="en-US" altLang="ko-KR" dirty="0"/>
              <a:t>. </a:t>
            </a:r>
            <a:r>
              <a:rPr lang="ko-KR" altLang="en-US" dirty="0"/>
              <a:t>모든 요청화면에서 동일한 항목이 보여집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[</a:t>
            </a:r>
            <a:r>
              <a:rPr lang="ko-KR" altLang="en-US" dirty="0"/>
              <a:t>선택</a:t>
            </a:r>
            <a:r>
              <a:rPr lang="en-US" altLang="ko-KR" dirty="0"/>
              <a:t>/</a:t>
            </a:r>
            <a:r>
              <a:rPr lang="ko-KR" altLang="en-US" dirty="0"/>
              <a:t>공통</a:t>
            </a:r>
            <a:r>
              <a:rPr lang="en-US" altLang="ko-KR" dirty="0"/>
              <a:t>] </a:t>
            </a:r>
            <a:r>
              <a:rPr lang="ko-KR" altLang="en-US" dirty="0"/>
              <a:t>모든 요청화면에서 동일한 항목이 보여집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사용자가 신청하는 요청에 대하여 참조가 필요한 참조자를 지정합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서비스 요청에 대한 희망 완료일을 지정합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사용자가 신청하는 요청에 대하여 실 요청자가 다른 경우 지정합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참조할 파일이 있는 경우 추가하여 첨부합니다</a:t>
            </a:r>
            <a:r>
              <a:rPr lang="en-US" altLang="ko-KR" dirty="0"/>
              <a:t>.</a:t>
            </a:r>
          </a:p>
        </p:txBody>
      </p:sp>
      <p:sp>
        <p:nvSpPr>
          <p:cNvPr id="58" name="타원 57">
            <a:extLst>
              <a:ext uri="{FF2B5EF4-FFF2-40B4-BE49-F238E27FC236}">
                <a16:creationId xmlns:a16="http://schemas.microsoft.com/office/drawing/2014/main" id="{21BB2DB5-5B4D-48A6-8136-61BD5D06A01E}"/>
              </a:ext>
            </a:extLst>
          </p:cNvPr>
          <p:cNvSpPr/>
          <p:nvPr/>
        </p:nvSpPr>
        <p:spPr>
          <a:xfrm>
            <a:off x="7692400" y="76436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E5D1DCB-20F0-4E5D-9860-9B893D9FEDFA}"/>
              </a:ext>
            </a:extLst>
          </p:cNvPr>
          <p:cNvSpPr txBox="1"/>
          <p:nvPr/>
        </p:nvSpPr>
        <p:spPr>
          <a:xfrm>
            <a:off x="4384804" y="741166"/>
            <a:ext cx="3130688" cy="113293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노트북</a:t>
            </a:r>
            <a:r>
              <a:rPr lang="en-US" altLang="ko-KR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sz="1800" b="1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데이크탑</a:t>
            </a:r>
            <a:r>
              <a:rPr lang="ko-KR" altLang="en-US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등 </a:t>
            </a:r>
            <a:r>
              <a:rPr lang="en-US" altLang="ko-KR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IT </a:t>
            </a:r>
            <a:r>
              <a:rPr lang="ko-KR" altLang="en-US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장비 신청과 반납 필요한 경우에 요청합니다</a:t>
            </a:r>
            <a:r>
              <a:rPr lang="en-US" altLang="ko-KR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</a:t>
            </a:r>
          </a:p>
        </p:txBody>
      </p:sp>
      <p:cxnSp>
        <p:nvCxnSpPr>
          <p:cNvPr id="48" name="직선 연결선 47">
            <a:extLst>
              <a:ext uri="{FF2B5EF4-FFF2-40B4-BE49-F238E27FC236}">
                <a16:creationId xmlns:a16="http://schemas.microsoft.com/office/drawing/2014/main" id="{BCA041AC-C053-4DEF-B9E4-FD95738CBAB7}"/>
              </a:ext>
            </a:extLst>
          </p:cNvPr>
          <p:cNvCxnSpPr>
            <a:cxnSpLocks/>
          </p:cNvCxnSpPr>
          <p:nvPr/>
        </p:nvCxnSpPr>
        <p:spPr>
          <a:xfrm>
            <a:off x="7636609" y="1223963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그림 4">
            <a:extLst>
              <a:ext uri="{FF2B5EF4-FFF2-40B4-BE49-F238E27FC236}">
                <a16:creationId xmlns:a16="http://schemas.microsoft.com/office/drawing/2014/main" id="{1DA3FAD1-EA3D-4468-A5C3-B0429FE3C6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066" y="867179"/>
            <a:ext cx="3863435" cy="877443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5770F924-F2E8-4DB7-B217-C0B54CE6C9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399" y="1741400"/>
            <a:ext cx="3845528" cy="2323433"/>
          </a:xfrm>
          <a:prstGeom prst="rect">
            <a:avLst/>
          </a:prstGeom>
        </p:spPr>
      </p:pic>
      <p:sp>
        <p:nvSpPr>
          <p:cNvPr id="36" name="사각형: 둥근 모서리 35">
            <a:extLst>
              <a:ext uri="{FF2B5EF4-FFF2-40B4-BE49-F238E27FC236}">
                <a16:creationId xmlns:a16="http://schemas.microsoft.com/office/drawing/2014/main" id="{11D3B495-CE78-4FD7-BAC7-A72B788A48B8}"/>
              </a:ext>
            </a:extLst>
          </p:cNvPr>
          <p:cNvSpPr/>
          <p:nvPr/>
        </p:nvSpPr>
        <p:spPr>
          <a:xfrm>
            <a:off x="351399" y="1730041"/>
            <a:ext cx="3917156" cy="390161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타원 36">
            <a:extLst>
              <a:ext uri="{FF2B5EF4-FFF2-40B4-BE49-F238E27FC236}">
                <a16:creationId xmlns:a16="http://schemas.microsoft.com/office/drawing/2014/main" id="{81773BF0-99AF-47D8-93BA-BC47C280C7B1}"/>
              </a:ext>
            </a:extLst>
          </p:cNvPr>
          <p:cNvSpPr/>
          <p:nvPr/>
        </p:nvSpPr>
        <p:spPr>
          <a:xfrm>
            <a:off x="280965" y="173318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660ED978-DF90-4595-B17B-CFAA71F2A801}"/>
              </a:ext>
            </a:extLst>
          </p:cNvPr>
          <p:cNvSpPr/>
          <p:nvPr/>
        </p:nvSpPr>
        <p:spPr>
          <a:xfrm>
            <a:off x="351399" y="2160210"/>
            <a:ext cx="3917156" cy="390161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512D2B5D-78C0-4275-B75A-980CF6E7C451}"/>
              </a:ext>
            </a:extLst>
          </p:cNvPr>
          <p:cNvSpPr/>
          <p:nvPr/>
        </p:nvSpPr>
        <p:spPr>
          <a:xfrm>
            <a:off x="280965" y="2163349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55" name="사각형: 둥근 모서리 54">
            <a:extLst>
              <a:ext uri="{FF2B5EF4-FFF2-40B4-BE49-F238E27FC236}">
                <a16:creationId xmlns:a16="http://schemas.microsoft.com/office/drawing/2014/main" id="{CA15C0BC-CB4B-400E-B085-F919AD8E9BB2}"/>
              </a:ext>
            </a:extLst>
          </p:cNvPr>
          <p:cNvSpPr/>
          <p:nvPr/>
        </p:nvSpPr>
        <p:spPr>
          <a:xfrm>
            <a:off x="351399" y="2601548"/>
            <a:ext cx="3917156" cy="995762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9" name="타원 58">
            <a:extLst>
              <a:ext uri="{FF2B5EF4-FFF2-40B4-BE49-F238E27FC236}">
                <a16:creationId xmlns:a16="http://schemas.microsoft.com/office/drawing/2014/main" id="{A92F13B4-578A-4CD9-911D-63F83A1B4910}"/>
              </a:ext>
            </a:extLst>
          </p:cNvPr>
          <p:cNvSpPr/>
          <p:nvPr/>
        </p:nvSpPr>
        <p:spPr>
          <a:xfrm>
            <a:off x="280965" y="2604687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64" name="사각형: 둥근 모서리 63">
            <a:extLst>
              <a:ext uri="{FF2B5EF4-FFF2-40B4-BE49-F238E27FC236}">
                <a16:creationId xmlns:a16="http://schemas.microsoft.com/office/drawing/2014/main" id="{F3D60B57-3B47-46E0-82E4-6DC2FD287884}"/>
              </a:ext>
            </a:extLst>
          </p:cNvPr>
          <p:cNvSpPr/>
          <p:nvPr/>
        </p:nvSpPr>
        <p:spPr>
          <a:xfrm>
            <a:off x="351399" y="3637045"/>
            <a:ext cx="3917156" cy="499061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타원 64">
            <a:extLst>
              <a:ext uri="{FF2B5EF4-FFF2-40B4-BE49-F238E27FC236}">
                <a16:creationId xmlns:a16="http://schemas.microsoft.com/office/drawing/2014/main" id="{4A57CB7E-AF26-4A1C-B60B-D60E31EA459B}"/>
              </a:ext>
            </a:extLst>
          </p:cNvPr>
          <p:cNvSpPr/>
          <p:nvPr/>
        </p:nvSpPr>
        <p:spPr>
          <a:xfrm>
            <a:off x="280965" y="3640184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66" name="사각형: 둥근 모서리 65">
            <a:extLst>
              <a:ext uri="{FF2B5EF4-FFF2-40B4-BE49-F238E27FC236}">
                <a16:creationId xmlns:a16="http://schemas.microsoft.com/office/drawing/2014/main" id="{AB6B7BFB-CEE6-4AA4-BF55-586A7017A767}"/>
              </a:ext>
            </a:extLst>
          </p:cNvPr>
          <p:cNvSpPr/>
          <p:nvPr/>
        </p:nvSpPr>
        <p:spPr>
          <a:xfrm>
            <a:off x="351399" y="4175842"/>
            <a:ext cx="3917156" cy="498670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7" name="사각형: 둥근 모서리 66">
            <a:extLst>
              <a:ext uri="{FF2B5EF4-FFF2-40B4-BE49-F238E27FC236}">
                <a16:creationId xmlns:a16="http://schemas.microsoft.com/office/drawing/2014/main" id="{5F56C5D3-21C2-4882-AA7F-A7D719371FB4}"/>
              </a:ext>
            </a:extLst>
          </p:cNvPr>
          <p:cNvSpPr/>
          <p:nvPr/>
        </p:nvSpPr>
        <p:spPr>
          <a:xfrm>
            <a:off x="351399" y="4714248"/>
            <a:ext cx="3917156" cy="498670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8" name="타원 67">
            <a:extLst>
              <a:ext uri="{FF2B5EF4-FFF2-40B4-BE49-F238E27FC236}">
                <a16:creationId xmlns:a16="http://schemas.microsoft.com/office/drawing/2014/main" id="{FEAC9013-FA6E-40DE-AA3E-950108DC6828}"/>
              </a:ext>
            </a:extLst>
          </p:cNvPr>
          <p:cNvSpPr/>
          <p:nvPr/>
        </p:nvSpPr>
        <p:spPr>
          <a:xfrm>
            <a:off x="268360" y="4230578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5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69" name="타원 68">
            <a:extLst>
              <a:ext uri="{FF2B5EF4-FFF2-40B4-BE49-F238E27FC236}">
                <a16:creationId xmlns:a16="http://schemas.microsoft.com/office/drawing/2014/main" id="{43BBDFF2-9627-4624-8489-536432338D09}"/>
              </a:ext>
            </a:extLst>
          </p:cNvPr>
          <p:cNvSpPr/>
          <p:nvPr/>
        </p:nvSpPr>
        <p:spPr>
          <a:xfrm>
            <a:off x="268360" y="4728793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6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70" name="타원 69">
            <a:extLst>
              <a:ext uri="{FF2B5EF4-FFF2-40B4-BE49-F238E27FC236}">
                <a16:creationId xmlns:a16="http://schemas.microsoft.com/office/drawing/2014/main" id="{02CE1FD9-EF51-498A-B4FC-208E8F5F548F}"/>
              </a:ext>
            </a:extLst>
          </p:cNvPr>
          <p:cNvSpPr/>
          <p:nvPr/>
        </p:nvSpPr>
        <p:spPr>
          <a:xfrm>
            <a:off x="7692400" y="1285804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71" name="직선 연결선 70">
            <a:extLst>
              <a:ext uri="{FF2B5EF4-FFF2-40B4-BE49-F238E27FC236}">
                <a16:creationId xmlns:a16="http://schemas.microsoft.com/office/drawing/2014/main" id="{F931A288-F8B2-45E1-856D-FCD93670C2C9}"/>
              </a:ext>
            </a:extLst>
          </p:cNvPr>
          <p:cNvCxnSpPr>
            <a:cxnSpLocks/>
          </p:cNvCxnSpPr>
          <p:nvPr/>
        </p:nvCxnSpPr>
        <p:spPr>
          <a:xfrm>
            <a:off x="7621012" y="1637851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타원 71">
            <a:extLst>
              <a:ext uri="{FF2B5EF4-FFF2-40B4-BE49-F238E27FC236}">
                <a16:creationId xmlns:a16="http://schemas.microsoft.com/office/drawing/2014/main" id="{B912523B-B42C-496B-9D28-9903A05D7879}"/>
              </a:ext>
            </a:extLst>
          </p:cNvPr>
          <p:cNvSpPr/>
          <p:nvPr/>
        </p:nvSpPr>
        <p:spPr>
          <a:xfrm>
            <a:off x="7676803" y="1699692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73" name="직선 연결선 72">
            <a:extLst>
              <a:ext uri="{FF2B5EF4-FFF2-40B4-BE49-F238E27FC236}">
                <a16:creationId xmlns:a16="http://schemas.microsoft.com/office/drawing/2014/main" id="{C4603B80-7098-43A1-A1A8-1ABF2E0128FF}"/>
              </a:ext>
            </a:extLst>
          </p:cNvPr>
          <p:cNvCxnSpPr>
            <a:cxnSpLocks/>
          </p:cNvCxnSpPr>
          <p:nvPr/>
        </p:nvCxnSpPr>
        <p:spPr>
          <a:xfrm>
            <a:off x="7639531" y="2204771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타원 73">
            <a:extLst>
              <a:ext uri="{FF2B5EF4-FFF2-40B4-BE49-F238E27FC236}">
                <a16:creationId xmlns:a16="http://schemas.microsoft.com/office/drawing/2014/main" id="{474585E3-1062-40FD-8D36-658B89519A1B}"/>
              </a:ext>
            </a:extLst>
          </p:cNvPr>
          <p:cNvSpPr/>
          <p:nvPr/>
        </p:nvSpPr>
        <p:spPr>
          <a:xfrm>
            <a:off x="7695322" y="2266612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75" name="직선 연결선 74">
            <a:extLst>
              <a:ext uri="{FF2B5EF4-FFF2-40B4-BE49-F238E27FC236}">
                <a16:creationId xmlns:a16="http://schemas.microsoft.com/office/drawing/2014/main" id="{18D1BBDF-7673-4128-84E7-60228E43F2AC}"/>
              </a:ext>
            </a:extLst>
          </p:cNvPr>
          <p:cNvCxnSpPr>
            <a:cxnSpLocks/>
          </p:cNvCxnSpPr>
          <p:nvPr/>
        </p:nvCxnSpPr>
        <p:spPr>
          <a:xfrm>
            <a:off x="7636609" y="2539707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타원 75">
            <a:extLst>
              <a:ext uri="{FF2B5EF4-FFF2-40B4-BE49-F238E27FC236}">
                <a16:creationId xmlns:a16="http://schemas.microsoft.com/office/drawing/2014/main" id="{2F8A9FB4-0631-488C-874E-D6047BE4280F}"/>
              </a:ext>
            </a:extLst>
          </p:cNvPr>
          <p:cNvSpPr/>
          <p:nvPr/>
        </p:nvSpPr>
        <p:spPr>
          <a:xfrm>
            <a:off x="7692400" y="2601548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5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78" name="직선 연결선 77">
            <a:extLst>
              <a:ext uri="{FF2B5EF4-FFF2-40B4-BE49-F238E27FC236}">
                <a16:creationId xmlns:a16="http://schemas.microsoft.com/office/drawing/2014/main" id="{9563927D-DCD7-420F-9048-8BEFDF5A8375}"/>
              </a:ext>
            </a:extLst>
          </p:cNvPr>
          <p:cNvCxnSpPr>
            <a:cxnSpLocks/>
          </p:cNvCxnSpPr>
          <p:nvPr/>
        </p:nvCxnSpPr>
        <p:spPr>
          <a:xfrm>
            <a:off x="7636609" y="2930988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타원 78">
            <a:extLst>
              <a:ext uri="{FF2B5EF4-FFF2-40B4-BE49-F238E27FC236}">
                <a16:creationId xmlns:a16="http://schemas.microsoft.com/office/drawing/2014/main" id="{E9C1F0D8-6D1C-4F5E-BE70-85A783265BC1}"/>
              </a:ext>
            </a:extLst>
          </p:cNvPr>
          <p:cNvSpPr/>
          <p:nvPr/>
        </p:nvSpPr>
        <p:spPr>
          <a:xfrm>
            <a:off x="7692400" y="2992829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6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30F7556-85A2-4DA0-A4D8-2E3754E1AFBF}"/>
              </a:ext>
            </a:extLst>
          </p:cNvPr>
          <p:cNvSpPr txBox="1"/>
          <p:nvPr/>
        </p:nvSpPr>
        <p:spPr>
          <a:xfrm>
            <a:off x="551598" y="4271288"/>
            <a:ext cx="13708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제목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설명 입력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69B601D-4E88-4FE8-BCCA-ADD7045482E8}"/>
              </a:ext>
            </a:extLst>
          </p:cNvPr>
          <p:cNvSpPr txBox="1"/>
          <p:nvPr/>
        </p:nvSpPr>
        <p:spPr>
          <a:xfrm>
            <a:off x="551598" y="4805309"/>
            <a:ext cx="36182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참조인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희망완료일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실요청자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첨부파일 입력</a:t>
            </a:r>
          </a:p>
        </p:txBody>
      </p:sp>
    </p:spTree>
    <p:extLst>
      <p:ext uri="{BB962C8B-B14F-4D97-AF65-F5344CB8AC3E}">
        <p14:creationId xmlns:p14="http://schemas.microsoft.com/office/powerpoint/2010/main" val="1474708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id="{B58EB555-D8B9-4365-8DAD-74763ABE5F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58" y="853207"/>
            <a:ext cx="3863435" cy="855059"/>
          </a:xfrm>
          <a:prstGeom prst="rect">
            <a:avLst/>
          </a:prstGeom>
        </p:spPr>
      </p:pic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A2E573C3-2E07-46DC-A484-81B345FA4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18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48389E4-9BF2-437B-83E2-FE8E6CF2D9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GUIDE-REQUEST-07</a:t>
            </a:r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94AC05BA-9838-4A6E-9C97-DDDB7EFEA7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서비스 요청 </a:t>
            </a:r>
            <a:r>
              <a:rPr lang="en-US" altLang="ko-KR" dirty="0"/>
              <a:t>– </a:t>
            </a:r>
            <a:r>
              <a:rPr lang="ko-KR" altLang="en-US" dirty="0"/>
              <a:t>네트워크 요청</a:t>
            </a:r>
          </a:p>
        </p:txBody>
      </p:sp>
      <p:sp>
        <p:nvSpPr>
          <p:cNvPr id="45" name="텍스트 개체 틀 25">
            <a:extLst>
              <a:ext uri="{FF2B5EF4-FFF2-40B4-BE49-F238E27FC236}">
                <a16:creationId xmlns:a16="http://schemas.microsoft.com/office/drawing/2014/main" id="{D6608DD2-183F-4BB9-A9B4-10047D29D1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01463" y="671500"/>
            <a:ext cx="2371266" cy="6325146"/>
          </a:xfrm>
        </p:spPr>
        <p:txBody>
          <a:bodyPr/>
          <a:lstStyle/>
          <a:p>
            <a:r>
              <a:rPr lang="en-US" altLang="ko-KR" dirty="0"/>
              <a:t>[</a:t>
            </a:r>
            <a:r>
              <a:rPr lang="ko-KR" altLang="en-US" dirty="0"/>
              <a:t>필수</a:t>
            </a:r>
            <a:r>
              <a:rPr lang="en-US" altLang="ko-KR" dirty="0"/>
              <a:t>] </a:t>
            </a:r>
            <a:r>
              <a:rPr lang="ko-KR" altLang="en-US" dirty="0"/>
              <a:t>요청 품목과 상세 품목을 지정합니다</a:t>
            </a:r>
            <a:r>
              <a:rPr lang="en-US" altLang="ko-KR" dirty="0"/>
              <a:t>. </a:t>
            </a:r>
            <a:r>
              <a:rPr lang="ko-KR" altLang="en-US" dirty="0"/>
              <a:t>요청 품목을 선택하면 선택한 품목의 상세 품목이 보여집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서비스 요청 주소를 입력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필수</a:t>
            </a:r>
            <a:r>
              <a:rPr lang="en-US" altLang="ko-KR" dirty="0"/>
              <a:t>/</a:t>
            </a:r>
            <a:r>
              <a:rPr lang="ko-KR" altLang="en-US" dirty="0"/>
              <a:t>공통</a:t>
            </a:r>
            <a:r>
              <a:rPr lang="en-US" altLang="ko-KR" dirty="0"/>
              <a:t>] </a:t>
            </a:r>
            <a:r>
              <a:rPr lang="ko-KR" altLang="en-US" dirty="0"/>
              <a:t>제목과 설명을 입력합니다</a:t>
            </a:r>
            <a:r>
              <a:rPr lang="en-US" altLang="ko-KR" dirty="0"/>
              <a:t>. </a:t>
            </a:r>
            <a:r>
              <a:rPr lang="ko-KR" altLang="en-US" dirty="0"/>
              <a:t>모든 요청화면에서 동일한 항목이 보여집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[</a:t>
            </a:r>
            <a:r>
              <a:rPr lang="ko-KR" altLang="en-US" dirty="0"/>
              <a:t>선택</a:t>
            </a:r>
            <a:r>
              <a:rPr lang="en-US" altLang="ko-KR" dirty="0"/>
              <a:t>/</a:t>
            </a:r>
            <a:r>
              <a:rPr lang="ko-KR" altLang="en-US" dirty="0"/>
              <a:t>공통</a:t>
            </a:r>
            <a:r>
              <a:rPr lang="en-US" altLang="ko-KR" dirty="0"/>
              <a:t>] </a:t>
            </a:r>
            <a:r>
              <a:rPr lang="ko-KR" altLang="en-US" dirty="0"/>
              <a:t>모든 요청화면에서 동일한 항목이 보여집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사용자가 신청하는 요청에 대하여 참조가 필요한 참조자를 지정합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서비스 요청에 대한 희망 완료일을 지정합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사용자가 신청하는 요청에 대하여 실 요청자가 다른 경우 지정합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참조할 파일이 있는 경우 추가하여 첨부합니다</a:t>
            </a:r>
            <a:r>
              <a:rPr lang="en-US" altLang="ko-KR" dirty="0"/>
              <a:t>.</a:t>
            </a:r>
          </a:p>
        </p:txBody>
      </p:sp>
      <p:sp>
        <p:nvSpPr>
          <p:cNvPr id="58" name="타원 57">
            <a:extLst>
              <a:ext uri="{FF2B5EF4-FFF2-40B4-BE49-F238E27FC236}">
                <a16:creationId xmlns:a16="http://schemas.microsoft.com/office/drawing/2014/main" id="{21BB2DB5-5B4D-48A6-8136-61BD5D06A01E}"/>
              </a:ext>
            </a:extLst>
          </p:cNvPr>
          <p:cNvSpPr/>
          <p:nvPr/>
        </p:nvSpPr>
        <p:spPr>
          <a:xfrm>
            <a:off x="7692400" y="76436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E5D1DCB-20F0-4E5D-9860-9B893D9FEDFA}"/>
              </a:ext>
            </a:extLst>
          </p:cNvPr>
          <p:cNvSpPr txBox="1"/>
          <p:nvPr/>
        </p:nvSpPr>
        <p:spPr>
          <a:xfrm>
            <a:off x="4384804" y="741166"/>
            <a:ext cx="3130688" cy="113293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신규 네트워크 신청 및 변경 작업 필요한 경우에 요청합니다</a:t>
            </a:r>
            <a:r>
              <a:rPr lang="en-US" altLang="ko-KR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</a:t>
            </a:r>
          </a:p>
        </p:txBody>
      </p:sp>
      <p:cxnSp>
        <p:nvCxnSpPr>
          <p:cNvPr id="48" name="직선 연결선 47">
            <a:extLst>
              <a:ext uri="{FF2B5EF4-FFF2-40B4-BE49-F238E27FC236}">
                <a16:creationId xmlns:a16="http://schemas.microsoft.com/office/drawing/2014/main" id="{BCA041AC-C053-4DEF-B9E4-FD95738CBAB7}"/>
              </a:ext>
            </a:extLst>
          </p:cNvPr>
          <p:cNvCxnSpPr>
            <a:cxnSpLocks/>
          </p:cNvCxnSpPr>
          <p:nvPr/>
        </p:nvCxnSpPr>
        <p:spPr>
          <a:xfrm>
            <a:off x="7636609" y="1223963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타원 69">
            <a:extLst>
              <a:ext uri="{FF2B5EF4-FFF2-40B4-BE49-F238E27FC236}">
                <a16:creationId xmlns:a16="http://schemas.microsoft.com/office/drawing/2014/main" id="{02CE1FD9-EF51-498A-B4FC-208E8F5F548F}"/>
              </a:ext>
            </a:extLst>
          </p:cNvPr>
          <p:cNvSpPr/>
          <p:nvPr/>
        </p:nvSpPr>
        <p:spPr>
          <a:xfrm>
            <a:off x="7692400" y="1285804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9AE35783-A41E-4654-B382-795679F31E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8259" y="1776208"/>
            <a:ext cx="3863435" cy="1338548"/>
          </a:xfrm>
          <a:prstGeom prst="rect">
            <a:avLst/>
          </a:prstGeom>
        </p:spPr>
      </p:pic>
      <p:sp>
        <p:nvSpPr>
          <p:cNvPr id="36" name="사각형: 둥근 모서리 35">
            <a:extLst>
              <a:ext uri="{FF2B5EF4-FFF2-40B4-BE49-F238E27FC236}">
                <a16:creationId xmlns:a16="http://schemas.microsoft.com/office/drawing/2014/main" id="{11D3B495-CE78-4FD7-BAC7-A72B788A48B8}"/>
              </a:ext>
            </a:extLst>
          </p:cNvPr>
          <p:cNvSpPr/>
          <p:nvPr/>
        </p:nvSpPr>
        <p:spPr>
          <a:xfrm>
            <a:off x="351399" y="1730041"/>
            <a:ext cx="3917156" cy="871507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타원 36">
            <a:extLst>
              <a:ext uri="{FF2B5EF4-FFF2-40B4-BE49-F238E27FC236}">
                <a16:creationId xmlns:a16="http://schemas.microsoft.com/office/drawing/2014/main" id="{81773BF0-99AF-47D8-93BA-BC47C280C7B1}"/>
              </a:ext>
            </a:extLst>
          </p:cNvPr>
          <p:cNvSpPr/>
          <p:nvPr/>
        </p:nvSpPr>
        <p:spPr>
          <a:xfrm>
            <a:off x="280965" y="173318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55" name="사각형: 둥근 모서리 54">
            <a:extLst>
              <a:ext uri="{FF2B5EF4-FFF2-40B4-BE49-F238E27FC236}">
                <a16:creationId xmlns:a16="http://schemas.microsoft.com/office/drawing/2014/main" id="{CA15C0BC-CB4B-400E-B085-F919AD8E9BB2}"/>
              </a:ext>
            </a:extLst>
          </p:cNvPr>
          <p:cNvSpPr/>
          <p:nvPr/>
        </p:nvSpPr>
        <p:spPr>
          <a:xfrm>
            <a:off x="351399" y="2641284"/>
            <a:ext cx="3917156" cy="499061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9" name="타원 58">
            <a:extLst>
              <a:ext uri="{FF2B5EF4-FFF2-40B4-BE49-F238E27FC236}">
                <a16:creationId xmlns:a16="http://schemas.microsoft.com/office/drawing/2014/main" id="{A92F13B4-578A-4CD9-911D-63F83A1B4910}"/>
              </a:ext>
            </a:extLst>
          </p:cNvPr>
          <p:cNvSpPr/>
          <p:nvPr/>
        </p:nvSpPr>
        <p:spPr>
          <a:xfrm>
            <a:off x="280965" y="2604687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38" name="사각형: 둥근 모서리 37">
            <a:extLst>
              <a:ext uri="{FF2B5EF4-FFF2-40B4-BE49-F238E27FC236}">
                <a16:creationId xmlns:a16="http://schemas.microsoft.com/office/drawing/2014/main" id="{D30DD8CC-FC74-4C03-9AA8-3C195346E6C0}"/>
              </a:ext>
            </a:extLst>
          </p:cNvPr>
          <p:cNvSpPr/>
          <p:nvPr/>
        </p:nvSpPr>
        <p:spPr>
          <a:xfrm>
            <a:off x="351399" y="3176942"/>
            <a:ext cx="3917156" cy="498670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9" name="사각형: 둥근 모서리 38">
            <a:extLst>
              <a:ext uri="{FF2B5EF4-FFF2-40B4-BE49-F238E27FC236}">
                <a16:creationId xmlns:a16="http://schemas.microsoft.com/office/drawing/2014/main" id="{AC137E3E-D4E2-4C4C-B8D5-98AA68F297BC}"/>
              </a:ext>
            </a:extLst>
          </p:cNvPr>
          <p:cNvSpPr/>
          <p:nvPr/>
        </p:nvSpPr>
        <p:spPr>
          <a:xfrm>
            <a:off x="351399" y="3715348"/>
            <a:ext cx="3917156" cy="498670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타원 39">
            <a:extLst>
              <a:ext uri="{FF2B5EF4-FFF2-40B4-BE49-F238E27FC236}">
                <a16:creationId xmlns:a16="http://schemas.microsoft.com/office/drawing/2014/main" id="{15E4C146-7F69-4A65-8C4A-D3F799ECE4A7}"/>
              </a:ext>
            </a:extLst>
          </p:cNvPr>
          <p:cNvSpPr/>
          <p:nvPr/>
        </p:nvSpPr>
        <p:spPr>
          <a:xfrm>
            <a:off x="268360" y="3231678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41" name="타원 40">
            <a:extLst>
              <a:ext uri="{FF2B5EF4-FFF2-40B4-BE49-F238E27FC236}">
                <a16:creationId xmlns:a16="http://schemas.microsoft.com/office/drawing/2014/main" id="{2C9EF90D-4AFB-4172-974A-28808BC59EDC}"/>
              </a:ext>
            </a:extLst>
          </p:cNvPr>
          <p:cNvSpPr/>
          <p:nvPr/>
        </p:nvSpPr>
        <p:spPr>
          <a:xfrm>
            <a:off x="268360" y="3729893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8967CB3-F0CB-4B1A-905C-259161DE747C}"/>
              </a:ext>
            </a:extLst>
          </p:cNvPr>
          <p:cNvSpPr txBox="1"/>
          <p:nvPr/>
        </p:nvSpPr>
        <p:spPr>
          <a:xfrm>
            <a:off x="551598" y="3272388"/>
            <a:ext cx="13708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제목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설명 입력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36F8B78-A720-4736-A635-8EB64DFF5EEB}"/>
              </a:ext>
            </a:extLst>
          </p:cNvPr>
          <p:cNvSpPr txBox="1"/>
          <p:nvPr/>
        </p:nvSpPr>
        <p:spPr>
          <a:xfrm>
            <a:off x="551598" y="3806409"/>
            <a:ext cx="36182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참조인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희망완료일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실요청자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첨부파일 입력</a:t>
            </a:r>
          </a:p>
        </p:txBody>
      </p:sp>
      <p:cxnSp>
        <p:nvCxnSpPr>
          <p:cNvPr id="49" name="직선 연결선 48">
            <a:extLst>
              <a:ext uri="{FF2B5EF4-FFF2-40B4-BE49-F238E27FC236}">
                <a16:creationId xmlns:a16="http://schemas.microsoft.com/office/drawing/2014/main" id="{15E113DB-E0D2-4FBA-94E7-E04C059DB1AF}"/>
              </a:ext>
            </a:extLst>
          </p:cNvPr>
          <p:cNvCxnSpPr>
            <a:cxnSpLocks/>
          </p:cNvCxnSpPr>
          <p:nvPr/>
        </p:nvCxnSpPr>
        <p:spPr>
          <a:xfrm>
            <a:off x="7636609" y="1494931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타원 49">
            <a:extLst>
              <a:ext uri="{FF2B5EF4-FFF2-40B4-BE49-F238E27FC236}">
                <a16:creationId xmlns:a16="http://schemas.microsoft.com/office/drawing/2014/main" id="{D17B0DC1-FD63-4532-BFB2-717555386FA9}"/>
              </a:ext>
            </a:extLst>
          </p:cNvPr>
          <p:cNvSpPr/>
          <p:nvPr/>
        </p:nvSpPr>
        <p:spPr>
          <a:xfrm>
            <a:off x="7692400" y="1556772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51" name="직선 연결선 50">
            <a:extLst>
              <a:ext uri="{FF2B5EF4-FFF2-40B4-BE49-F238E27FC236}">
                <a16:creationId xmlns:a16="http://schemas.microsoft.com/office/drawing/2014/main" id="{9A28D7CC-89D7-4438-8247-8A1AF869E444}"/>
              </a:ext>
            </a:extLst>
          </p:cNvPr>
          <p:cNvCxnSpPr>
            <a:cxnSpLocks/>
          </p:cNvCxnSpPr>
          <p:nvPr/>
        </p:nvCxnSpPr>
        <p:spPr>
          <a:xfrm>
            <a:off x="7636609" y="1886212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타원 51">
            <a:extLst>
              <a:ext uri="{FF2B5EF4-FFF2-40B4-BE49-F238E27FC236}">
                <a16:creationId xmlns:a16="http://schemas.microsoft.com/office/drawing/2014/main" id="{0092EDD2-FD6A-4688-B170-4135D8085133}"/>
              </a:ext>
            </a:extLst>
          </p:cNvPr>
          <p:cNvSpPr/>
          <p:nvPr/>
        </p:nvSpPr>
        <p:spPr>
          <a:xfrm>
            <a:off x="7692400" y="1948053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140550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:a16="http://schemas.microsoft.com/office/drawing/2014/main" id="{4F72F239-89D8-434E-BC44-D2E25D3A3D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70" y="1841864"/>
            <a:ext cx="3876866" cy="2274189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D7AA587E-E28F-4C5C-B952-0F77BC9FF1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286" y="4196078"/>
            <a:ext cx="3872389" cy="2493550"/>
          </a:xfrm>
          <a:prstGeom prst="rect">
            <a:avLst/>
          </a:prstGeom>
        </p:spPr>
      </p:pic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A2E573C3-2E07-46DC-A484-81B345FA4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19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48389E4-9BF2-437B-83E2-FE8E6CF2D9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GUIDE-REQUEST-08</a:t>
            </a:r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94AC05BA-9838-4A6E-9C97-DDDB7EFEA7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서비스 요청 </a:t>
            </a:r>
            <a:r>
              <a:rPr lang="en-US" altLang="ko-KR" dirty="0"/>
              <a:t>– </a:t>
            </a:r>
            <a:r>
              <a:rPr lang="ko-KR" altLang="en-US" dirty="0"/>
              <a:t>장애</a:t>
            </a:r>
          </a:p>
        </p:txBody>
      </p:sp>
      <p:sp>
        <p:nvSpPr>
          <p:cNvPr id="45" name="텍스트 개체 틀 25">
            <a:extLst>
              <a:ext uri="{FF2B5EF4-FFF2-40B4-BE49-F238E27FC236}">
                <a16:creationId xmlns:a16="http://schemas.microsoft.com/office/drawing/2014/main" id="{D6608DD2-183F-4BB9-A9B4-10047D29D1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01463" y="671500"/>
            <a:ext cx="2371266" cy="6325146"/>
          </a:xfrm>
        </p:spPr>
        <p:txBody>
          <a:bodyPr/>
          <a:lstStyle/>
          <a:p>
            <a:r>
              <a:rPr lang="en-US" altLang="ko-KR" dirty="0"/>
              <a:t>[</a:t>
            </a:r>
            <a:r>
              <a:rPr lang="ko-KR" altLang="en-US" dirty="0"/>
              <a:t>필수</a:t>
            </a:r>
            <a:r>
              <a:rPr lang="en-US" altLang="ko-KR" dirty="0"/>
              <a:t>] </a:t>
            </a:r>
            <a:r>
              <a:rPr lang="ko-KR" altLang="en-US" dirty="0"/>
              <a:t>장애 현상을 요약하여 제목으로 입력합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[</a:t>
            </a:r>
            <a:r>
              <a:rPr lang="ko-KR" altLang="en-US" dirty="0"/>
              <a:t>필수</a:t>
            </a:r>
            <a:r>
              <a:rPr lang="en-US" altLang="ko-KR" dirty="0"/>
              <a:t>] </a:t>
            </a:r>
            <a:r>
              <a:rPr lang="ko-KR" altLang="en-US" dirty="0"/>
              <a:t>서비스를 요청하는 시스템을 검색하여 선택합니다</a:t>
            </a:r>
            <a:r>
              <a:rPr lang="en-US" altLang="ko-KR" dirty="0"/>
              <a:t>. </a:t>
            </a:r>
            <a:r>
              <a:rPr lang="ko-KR" altLang="en-US" dirty="0"/>
              <a:t>입력창이나 검색 버튼을 클릭하면 서비스</a:t>
            </a:r>
            <a:r>
              <a:rPr lang="en-US" altLang="ko-KR" dirty="0"/>
              <a:t>/</a:t>
            </a:r>
            <a:r>
              <a:rPr lang="ko-KR" altLang="en-US" dirty="0"/>
              <a:t>어플리케이션을 검색할 수 있는 화면이 보여집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[</a:t>
            </a:r>
            <a:r>
              <a:rPr lang="ko-KR" altLang="en-US" dirty="0"/>
              <a:t>필수</a:t>
            </a:r>
            <a:r>
              <a:rPr lang="en-US" altLang="ko-KR" dirty="0"/>
              <a:t>] </a:t>
            </a:r>
            <a:r>
              <a:rPr lang="ko-KR" altLang="en-US" dirty="0"/>
              <a:t>장애 인지 경로와 시간을 입력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장애 발생일시를 알고 있는 경우 입력합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[</a:t>
            </a:r>
            <a:r>
              <a:rPr lang="ko-KR" altLang="en-US" dirty="0"/>
              <a:t>필수</a:t>
            </a:r>
            <a:r>
              <a:rPr lang="en-US" altLang="ko-KR" dirty="0"/>
              <a:t>/</a:t>
            </a:r>
            <a:r>
              <a:rPr lang="ko-KR" altLang="en-US" dirty="0"/>
              <a:t>공통</a:t>
            </a:r>
            <a:r>
              <a:rPr lang="en-US" altLang="ko-KR" dirty="0"/>
              <a:t>] </a:t>
            </a:r>
            <a:r>
              <a:rPr lang="ko-KR" altLang="en-US" dirty="0"/>
              <a:t>장애 현상에 대한 자세한 설명을 입력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참조할 파일이 있는 경우 추가하여 첨부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제출 버튼을 클릭하여 서비스 요청을 등록합니다</a:t>
            </a:r>
            <a:r>
              <a:rPr lang="en-US" altLang="ko-KR" dirty="0"/>
              <a:t>.</a:t>
            </a:r>
          </a:p>
        </p:txBody>
      </p:sp>
      <p:sp>
        <p:nvSpPr>
          <p:cNvPr id="38" name="사각형: 둥근 모서리 37">
            <a:extLst>
              <a:ext uri="{FF2B5EF4-FFF2-40B4-BE49-F238E27FC236}">
                <a16:creationId xmlns:a16="http://schemas.microsoft.com/office/drawing/2014/main" id="{88A2BD3B-1128-4170-8A18-94A5432A8639}"/>
              </a:ext>
            </a:extLst>
          </p:cNvPr>
          <p:cNvSpPr/>
          <p:nvPr/>
        </p:nvSpPr>
        <p:spPr>
          <a:xfrm>
            <a:off x="351399" y="1798655"/>
            <a:ext cx="3917156" cy="422032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9" name="사각형: 둥근 모서리 38">
            <a:extLst>
              <a:ext uri="{FF2B5EF4-FFF2-40B4-BE49-F238E27FC236}">
                <a16:creationId xmlns:a16="http://schemas.microsoft.com/office/drawing/2014/main" id="{2DE24DFB-A4E2-47A4-A286-D05E73DD62A8}"/>
              </a:ext>
            </a:extLst>
          </p:cNvPr>
          <p:cNvSpPr/>
          <p:nvPr/>
        </p:nvSpPr>
        <p:spPr>
          <a:xfrm>
            <a:off x="351399" y="2260879"/>
            <a:ext cx="3917156" cy="472273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0B4462CD-E806-4528-9160-A1478147FEBE}"/>
              </a:ext>
            </a:extLst>
          </p:cNvPr>
          <p:cNvSpPr/>
          <p:nvPr/>
        </p:nvSpPr>
        <p:spPr>
          <a:xfrm>
            <a:off x="351399" y="4181535"/>
            <a:ext cx="3917156" cy="1640028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타원 48">
            <a:extLst>
              <a:ext uri="{FF2B5EF4-FFF2-40B4-BE49-F238E27FC236}">
                <a16:creationId xmlns:a16="http://schemas.microsoft.com/office/drawing/2014/main" id="{5721B01B-D364-483F-B21C-BF68A0CC65EF}"/>
              </a:ext>
            </a:extLst>
          </p:cNvPr>
          <p:cNvSpPr/>
          <p:nvPr/>
        </p:nvSpPr>
        <p:spPr>
          <a:xfrm>
            <a:off x="280965" y="1801793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50" name="타원 49">
            <a:extLst>
              <a:ext uri="{FF2B5EF4-FFF2-40B4-BE49-F238E27FC236}">
                <a16:creationId xmlns:a16="http://schemas.microsoft.com/office/drawing/2014/main" id="{564AE9D5-2902-4AB3-8546-ACB79E6A9243}"/>
              </a:ext>
            </a:extLst>
          </p:cNvPr>
          <p:cNvSpPr/>
          <p:nvPr/>
        </p:nvSpPr>
        <p:spPr>
          <a:xfrm>
            <a:off x="268360" y="2392644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52" name="타원 51">
            <a:extLst>
              <a:ext uri="{FF2B5EF4-FFF2-40B4-BE49-F238E27FC236}">
                <a16:creationId xmlns:a16="http://schemas.microsoft.com/office/drawing/2014/main" id="{A2276E95-4EDA-4988-9757-3328EFD96C39}"/>
              </a:ext>
            </a:extLst>
          </p:cNvPr>
          <p:cNvSpPr/>
          <p:nvPr/>
        </p:nvSpPr>
        <p:spPr>
          <a:xfrm>
            <a:off x="268360" y="2946347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57" name="직선 연결선 56">
            <a:extLst>
              <a:ext uri="{FF2B5EF4-FFF2-40B4-BE49-F238E27FC236}">
                <a16:creationId xmlns:a16="http://schemas.microsoft.com/office/drawing/2014/main" id="{694C5368-ECC4-4A82-BCDB-E3027A7B509B}"/>
              </a:ext>
            </a:extLst>
          </p:cNvPr>
          <p:cNvCxnSpPr>
            <a:cxnSpLocks/>
          </p:cNvCxnSpPr>
          <p:nvPr/>
        </p:nvCxnSpPr>
        <p:spPr>
          <a:xfrm>
            <a:off x="7627576" y="2074753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타원 57">
            <a:extLst>
              <a:ext uri="{FF2B5EF4-FFF2-40B4-BE49-F238E27FC236}">
                <a16:creationId xmlns:a16="http://schemas.microsoft.com/office/drawing/2014/main" id="{21BB2DB5-5B4D-48A6-8136-61BD5D06A01E}"/>
              </a:ext>
            </a:extLst>
          </p:cNvPr>
          <p:cNvSpPr/>
          <p:nvPr/>
        </p:nvSpPr>
        <p:spPr>
          <a:xfrm>
            <a:off x="7683367" y="76436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60" name="타원 59">
            <a:extLst>
              <a:ext uri="{FF2B5EF4-FFF2-40B4-BE49-F238E27FC236}">
                <a16:creationId xmlns:a16="http://schemas.microsoft.com/office/drawing/2014/main" id="{DBB26A6B-DA24-4477-8025-278606E9F3FD}"/>
              </a:ext>
            </a:extLst>
          </p:cNvPr>
          <p:cNvSpPr/>
          <p:nvPr/>
        </p:nvSpPr>
        <p:spPr>
          <a:xfrm>
            <a:off x="7683367" y="2167613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61" name="직선 연결선 60">
            <a:extLst>
              <a:ext uri="{FF2B5EF4-FFF2-40B4-BE49-F238E27FC236}">
                <a16:creationId xmlns:a16="http://schemas.microsoft.com/office/drawing/2014/main" id="{D3EF3F10-471A-4979-BCE4-1DCD41E488A1}"/>
              </a:ext>
            </a:extLst>
          </p:cNvPr>
          <p:cNvCxnSpPr>
            <a:cxnSpLocks/>
          </p:cNvCxnSpPr>
          <p:nvPr/>
        </p:nvCxnSpPr>
        <p:spPr>
          <a:xfrm>
            <a:off x="7627576" y="2376159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타원 61">
            <a:extLst>
              <a:ext uri="{FF2B5EF4-FFF2-40B4-BE49-F238E27FC236}">
                <a16:creationId xmlns:a16="http://schemas.microsoft.com/office/drawing/2014/main" id="{3B6FF236-8D28-40D2-9185-1E48311A9B5B}"/>
              </a:ext>
            </a:extLst>
          </p:cNvPr>
          <p:cNvSpPr/>
          <p:nvPr/>
        </p:nvSpPr>
        <p:spPr>
          <a:xfrm>
            <a:off x="7683367" y="2469019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5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E5D1DCB-20F0-4E5D-9860-9B893D9FEDFA}"/>
              </a:ext>
            </a:extLst>
          </p:cNvPr>
          <p:cNvSpPr txBox="1"/>
          <p:nvPr/>
        </p:nvSpPr>
        <p:spPr>
          <a:xfrm>
            <a:off x="4384804" y="741166"/>
            <a:ext cx="3130688" cy="113293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시스템을 통한 업무 수행이 어려워 빠른 조치가 필요한 경우에 요청합니다</a:t>
            </a:r>
            <a:r>
              <a:rPr lang="en-US" altLang="ko-KR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</a:t>
            </a:r>
          </a:p>
        </p:txBody>
      </p:sp>
      <p:cxnSp>
        <p:nvCxnSpPr>
          <p:cNvPr id="48" name="직선 연결선 47">
            <a:extLst>
              <a:ext uri="{FF2B5EF4-FFF2-40B4-BE49-F238E27FC236}">
                <a16:creationId xmlns:a16="http://schemas.microsoft.com/office/drawing/2014/main" id="{BCA041AC-C053-4DEF-B9E4-FD95738CBAB7}"/>
              </a:ext>
            </a:extLst>
          </p:cNvPr>
          <p:cNvCxnSpPr>
            <a:cxnSpLocks/>
          </p:cNvCxnSpPr>
          <p:nvPr/>
        </p:nvCxnSpPr>
        <p:spPr>
          <a:xfrm>
            <a:off x="7636609" y="1074033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타원 50">
            <a:extLst>
              <a:ext uri="{FF2B5EF4-FFF2-40B4-BE49-F238E27FC236}">
                <a16:creationId xmlns:a16="http://schemas.microsoft.com/office/drawing/2014/main" id="{108E33C4-C940-4664-9E7D-F4FA712C3239}"/>
              </a:ext>
            </a:extLst>
          </p:cNvPr>
          <p:cNvSpPr/>
          <p:nvPr/>
        </p:nvSpPr>
        <p:spPr>
          <a:xfrm>
            <a:off x="7683367" y="1166893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EF7C6F97-6BBB-410B-9BF1-0457C5686F2E}"/>
              </a:ext>
            </a:extLst>
          </p:cNvPr>
          <p:cNvSpPr/>
          <p:nvPr/>
        </p:nvSpPr>
        <p:spPr>
          <a:xfrm>
            <a:off x="1673437" y="6414907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7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92625408-8BD1-4A5B-93F8-140CAE12EE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907" y="878882"/>
            <a:ext cx="3867912" cy="864013"/>
          </a:xfrm>
          <a:prstGeom prst="rect">
            <a:avLst/>
          </a:prstGeom>
        </p:spPr>
      </p:pic>
      <p:sp>
        <p:nvSpPr>
          <p:cNvPr id="32" name="사각형: 둥근 모서리 31">
            <a:extLst>
              <a:ext uri="{FF2B5EF4-FFF2-40B4-BE49-F238E27FC236}">
                <a16:creationId xmlns:a16="http://schemas.microsoft.com/office/drawing/2014/main" id="{EE12A71C-1645-4C90-9EDF-9AE3EC217F9B}"/>
              </a:ext>
            </a:extLst>
          </p:cNvPr>
          <p:cNvSpPr/>
          <p:nvPr/>
        </p:nvSpPr>
        <p:spPr>
          <a:xfrm>
            <a:off x="351399" y="2773222"/>
            <a:ext cx="3917156" cy="864281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사각형: 둥근 모서리 32">
            <a:extLst>
              <a:ext uri="{FF2B5EF4-FFF2-40B4-BE49-F238E27FC236}">
                <a16:creationId xmlns:a16="http://schemas.microsoft.com/office/drawing/2014/main" id="{E1815DA5-5933-448C-8F85-A720971BFFE8}"/>
              </a:ext>
            </a:extLst>
          </p:cNvPr>
          <p:cNvSpPr/>
          <p:nvPr/>
        </p:nvSpPr>
        <p:spPr>
          <a:xfrm>
            <a:off x="351399" y="5859914"/>
            <a:ext cx="3917156" cy="422032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타원 33">
            <a:extLst>
              <a:ext uri="{FF2B5EF4-FFF2-40B4-BE49-F238E27FC236}">
                <a16:creationId xmlns:a16="http://schemas.microsoft.com/office/drawing/2014/main" id="{ABF76173-B86A-4084-ABC7-87A564FCECDE}"/>
              </a:ext>
            </a:extLst>
          </p:cNvPr>
          <p:cNvSpPr/>
          <p:nvPr/>
        </p:nvSpPr>
        <p:spPr>
          <a:xfrm>
            <a:off x="280965" y="5863052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6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35" name="타원 34">
            <a:extLst>
              <a:ext uri="{FF2B5EF4-FFF2-40B4-BE49-F238E27FC236}">
                <a16:creationId xmlns:a16="http://schemas.microsoft.com/office/drawing/2014/main" id="{B1BAB910-100B-4189-9D74-10F332CDCC3D}"/>
              </a:ext>
            </a:extLst>
          </p:cNvPr>
          <p:cNvSpPr/>
          <p:nvPr/>
        </p:nvSpPr>
        <p:spPr>
          <a:xfrm>
            <a:off x="268360" y="4266601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5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36" name="사각형: 둥근 모서리 35">
            <a:extLst>
              <a:ext uri="{FF2B5EF4-FFF2-40B4-BE49-F238E27FC236}">
                <a16:creationId xmlns:a16="http://schemas.microsoft.com/office/drawing/2014/main" id="{55A452B2-D757-4665-875C-E5FA760D0E1C}"/>
              </a:ext>
            </a:extLst>
          </p:cNvPr>
          <p:cNvSpPr/>
          <p:nvPr/>
        </p:nvSpPr>
        <p:spPr>
          <a:xfrm>
            <a:off x="351399" y="3680523"/>
            <a:ext cx="3917156" cy="422032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타원 36">
            <a:extLst>
              <a:ext uri="{FF2B5EF4-FFF2-40B4-BE49-F238E27FC236}">
                <a16:creationId xmlns:a16="http://schemas.microsoft.com/office/drawing/2014/main" id="{81B7AC5B-F7CC-493E-9F47-4625668E08E6}"/>
              </a:ext>
            </a:extLst>
          </p:cNvPr>
          <p:cNvSpPr/>
          <p:nvPr/>
        </p:nvSpPr>
        <p:spPr>
          <a:xfrm>
            <a:off x="280965" y="3683661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41" name="직선 연결선 40">
            <a:extLst>
              <a:ext uri="{FF2B5EF4-FFF2-40B4-BE49-F238E27FC236}">
                <a16:creationId xmlns:a16="http://schemas.microsoft.com/office/drawing/2014/main" id="{6F0996EA-F697-4335-9F5C-4F3E75AF9E3D}"/>
              </a:ext>
            </a:extLst>
          </p:cNvPr>
          <p:cNvCxnSpPr>
            <a:cxnSpLocks/>
          </p:cNvCxnSpPr>
          <p:nvPr/>
        </p:nvCxnSpPr>
        <p:spPr>
          <a:xfrm>
            <a:off x="7648039" y="1771526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타원 41">
            <a:extLst>
              <a:ext uri="{FF2B5EF4-FFF2-40B4-BE49-F238E27FC236}">
                <a16:creationId xmlns:a16="http://schemas.microsoft.com/office/drawing/2014/main" id="{FCD02DA0-E609-4BC2-BB4C-3E5C640C7D12}"/>
              </a:ext>
            </a:extLst>
          </p:cNvPr>
          <p:cNvSpPr/>
          <p:nvPr/>
        </p:nvSpPr>
        <p:spPr>
          <a:xfrm>
            <a:off x="7683367" y="1864386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43" name="직선 연결선 42">
            <a:extLst>
              <a:ext uri="{FF2B5EF4-FFF2-40B4-BE49-F238E27FC236}">
                <a16:creationId xmlns:a16="http://schemas.microsoft.com/office/drawing/2014/main" id="{A3A584A1-8BCD-43C3-BA48-4BDC60F76823}"/>
              </a:ext>
            </a:extLst>
          </p:cNvPr>
          <p:cNvCxnSpPr>
            <a:cxnSpLocks/>
          </p:cNvCxnSpPr>
          <p:nvPr/>
        </p:nvCxnSpPr>
        <p:spPr>
          <a:xfrm>
            <a:off x="7636609" y="2751718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타원 52">
            <a:extLst>
              <a:ext uri="{FF2B5EF4-FFF2-40B4-BE49-F238E27FC236}">
                <a16:creationId xmlns:a16="http://schemas.microsoft.com/office/drawing/2014/main" id="{6B07F473-E6A5-4CEA-811E-3D3386FFA5A6}"/>
              </a:ext>
            </a:extLst>
          </p:cNvPr>
          <p:cNvSpPr/>
          <p:nvPr/>
        </p:nvSpPr>
        <p:spPr>
          <a:xfrm>
            <a:off x="7683367" y="2844578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6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54" name="직선 연결선 53">
            <a:extLst>
              <a:ext uri="{FF2B5EF4-FFF2-40B4-BE49-F238E27FC236}">
                <a16:creationId xmlns:a16="http://schemas.microsoft.com/office/drawing/2014/main" id="{C0897CCA-453B-438F-A635-73D888E98BE4}"/>
              </a:ext>
            </a:extLst>
          </p:cNvPr>
          <p:cNvCxnSpPr>
            <a:cxnSpLocks/>
          </p:cNvCxnSpPr>
          <p:nvPr/>
        </p:nvCxnSpPr>
        <p:spPr>
          <a:xfrm>
            <a:off x="7648039" y="3042987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타원 55">
            <a:extLst>
              <a:ext uri="{FF2B5EF4-FFF2-40B4-BE49-F238E27FC236}">
                <a16:creationId xmlns:a16="http://schemas.microsoft.com/office/drawing/2014/main" id="{4BCD2FB7-4A34-4F87-8B67-16AD0CA701B8}"/>
              </a:ext>
            </a:extLst>
          </p:cNvPr>
          <p:cNvSpPr/>
          <p:nvPr/>
        </p:nvSpPr>
        <p:spPr>
          <a:xfrm>
            <a:off x="7683367" y="3135847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7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518077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0FCE28C7-342B-42C4-B559-1AE05271DB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제목 4">
            <a:extLst>
              <a:ext uri="{FF2B5EF4-FFF2-40B4-BE49-F238E27FC236}">
                <a16:creationId xmlns:a16="http://schemas.microsoft.com/office/drawing/2014/main" id="{F32A3D1D-BA3C-4846-B46C-84210B063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변경 이력</a:t>
            </a:r>
          </a:p>
        </p:txBody>
      </p:sp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C7AA9FC5-0EDC-4541-90D8-D23570C392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0471759"/>
              </p:ext>
            </p:extLst>
          </p:nvPr>
        </p:nvGraphicFramePr>
        <p:xfrm>
          <a:off x="232756" y="896740"/>
          <a:ext cx="9468201" cy="4978065"/>
        </p:xfrm>
        <a:graphic>
          <a:graphicData uri="http://schemas.openxmlformats.org/drawingml/2006/table">
            <a:tbl>
              <a:tblPr>
                <a:tableStyleId>{60A59446-8F78-4DC5-A605-F528D7DF9056}</a:tableStyleId>
              </a:tblPr>
              <a:tblGrid>
                <a:gridCol w="681644">
                  <a:extLst>
                    <a:ext uri="{9D8B030D-6E8A-4147-A177-3AD203B41FA5}">
                      <a16:colId xmlns:a16="http://schemas.microsoft.com/office/drawing/2014/main" val="2043568876"/>
                    </a:ext>
                  </a:extLst>
                </a:gridCol>
                <a:gridCol w="676275">
                  <a:extLst>
                    <a:ext uri="{9D8B030D-6E8A-4147-A177-3AD203B41FA5}">
                      <a16:colId xmlns:a16="http://schemas.microsoft.com/office/drawing/2014/main" val="3901810683"/>
                    </a:ext>
                  </a:extLst>
                </a:gridCol>
                <a:gridCol w="895350">
                  <a:extLst>
                    <a:ext uri="{9D8B030D-6E8A-4147-A177-3AD203B41FA5}">
                      <a16:colId xmlns:a16="http://schemas.microsoft.com/office/drawing/2014/main" val="637918327"/>
                    </a:ext>
                  </a:extLst>
                </a:gridCol>
                <a:gridCol w="742950">
                  <a:extLst>
                    <a:ext uri="{9D8B030D-6E8A-4147-A177-3AD203B41FA5}">
                      <a16:colId xmlns:a16="http://schemas.microsoft.com/office/drawing/2014/main" val="789766940"/>
                    </a:ext>
                  </a:extLst>
                </a:gridCol>
                <a:gridCol w="5544714">
                  <a:extLst>
                    <a:ext uri="{9D8B030D-6E8A-4147-A177-3AD203B41FA5}">
                      <a16:colId xmlns:a16="http://schemas.microsoft.com/office/drawing/2014/main" val="3590406095"/>
                    </a:ext>
                  </a:extLst>
                </a:gridCol>
                <a:gridCol w="927268">
                  <a:extLst>
                    <a:ext uri="{9D8B030D-6E8A-4147-A177-3AD203B41FA5}">
                      <a16:colId xmlns:a16="http://schemas.microsoft.com/office/drawing/2014/main" val="504648339"/>
                    </a:ext>
                  </a:extLst>
                </a:gridCol>
              </a:tblGrid>
              <a:tr h="31653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/>
                        <a:t>변경 일시</a:t>
                      </a:r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/>
                        <a:t>페이지</a:t>
                      </a:r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/>
                        <a:t>작성자</a:t>
                      </a:r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/>
                        <a:t>추가</a:t>
                      </a:r>
                      <a:r>
                        <a:rPr lang="en-US" altLang="ko-KR" sz="1000" dirty="0"/>
                        <a:t>/</a:t>
                      </a:r>
                      <a:r>
                        <a:rPr lang="ko-KR" altLang="en-US" sz="1000" dirty="0"/>
                        <a:t>변경</a:t>
                      </a:r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/>
                        <a:t>변경 내용</a:t>
                      </a:r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/>
                        <a:t>변경 後 버전</a:t>
                      </a:r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4997003"/>
                  </a:ext>
                </a:extLst>
              </a:tr>
              <a:tr h="316533"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3738867"/>
                  </a:ext>
                </a:extLst>
              </a:tr>
              <a:tr h="316533"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1407293"/>
                  </a:ext>
                </a:extLst>
              </a:tr>
              <a:tr h="316533"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0820000"/>
                  </a:ext>
                </a:extLst>
              </a:tr>
              <a:tr h="316533"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8888571"/>
                  </a:ext>
                </a:extLst>
              </a:tr>
              <a:tr h="316533"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0684196"/>
                  </a:ext>
                </a:extLst>
              </a:tr>
              <a:tr h="355019"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7771455"/>
                  </a:ext>
                </a:extLst>
              </a:tr>
              <a:tr h="316533"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8346573"/>
                  </a:ext>
                </a:extLst>
              </a:tr>
              <a:tr h="316533"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5552883"/>
                  </a:ext>
                </a:extLst>
              </a:tr>
              <a:tr h="316533"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4827008"/>
                  </a:ext>
                </a:extLst>
              </a:tr>
              <a:tr h="316533"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6061484"/>
                  </a:ext>
                </a:extLst>
              </a:tr>
              <a:tr h="316533"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0006478"/>
                  </a:ext>
                </a:extLst>
              </a:tr>
              <a:tr h="316533"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3181048"/>
                  </a:ext>
                </a:extLst>
              </a:tr>
              <a:tr h="316533"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0670920"/>
                  </a:ext>
                </a:extLst>
              </a:tr>
              <a:tr h="316533"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0834382"/>
                  </a:ext>
                </a:extLst>
              </a:tr>
              <a:tr h="191584"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marL="54000" marR="54000" marT="18000" marB="18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71299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648131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6675F548-9289-45E4-AEE5-877A98B622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A2C35-B01B-4692-A311-0CA971B40953}" type="slidenum">
              <a:rPr lang="ko-KR" altLang="en-US" smtClean="0"/>
              <a:pPr/>
              <a:t>20</a:t>
            </a:fld>
            <a:endParaRPr lang="ko-KR" altLang="en-US"/>
          </a:p>
        </p:txBody>
      </p:sp>
      <p:sp>
        <p:nvSpPr>
          <p:cNvPr id="28" name="텍스트 개체 틀 27">
            <a:extLst>
              <a:ext uri="{FF2B5EF4-FFF2-40B4-BE49-F238E27FC236}">
                <a16:creationId xmlns:a16="http://schemas.microsoft.com/office/drawing/2014/main" id="{63D36A48-6154-4169-95D3-6BC36AD77F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GUIDE-</a:t>
            </a:r>
            <a:r>
              <a:rPr lang="en-US" altLang="ko-KR" dirty="0" err="1"/>
              <a:t>MYHOME</a:t>
            </a:r>
            <a:r>
              <a:rPr lang="en-US" altLang="ko-KR" dirty="0"/>
              <a:t>-09</a:t>
            </a:r>
            <a:endParaRPr lang="ko-KR" altLang="en-US" dirty="0"/>
          </a:p>
        </p:txBody>
      </p:sp>
      <p:sp>
        <p:nvSpPr>
          <p:cNvPr id="30" name="텍스트 개체 틀 29">
            <a:extLst>
              <a:ext uri="{FF2B5EF4-FFF2-40B4-BE49-F238E27FC236}">
                <a16:creationId xmlns:a16="http://schemas.microsoft.com/office/drawing/2014/main" id="{3336D425-81BE-4CF7-88D9-43A7736F91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 err="1"/>
              <a:t>챗봇</a:t>
            </a:r>
            <a:r>
              <a:rPr lang="ko-KR" altLang="en-US" dirty="0"/>
              <a:t> 문의</a:t>
            </a:r>
          </a:p>
        </p:txBody>
      </p:sp>
      <p:sp>
        <p:nvSpPr>
          <p:cNvPr id="26" name="텍스트 개체 틀 25">
            <a:extLst>
              <a:ext uri="{FF2B5EF4-FFF2-40B4-BE49-F238E27FC236}">
                <a16:creationId xmlns:a16="http://schemas.microsoft.com/office/drawing/2014/main" id="{F115F714-E826-467D-8E0D-4F5D96A5F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spcBef>
                <a:spcPts val="800"/>
              </a:spcBef>
            </a:pPr>
            <a:r>
              <a:rPr lang="en-US" altLang="ko-KR" sz="840" dirty="0"/>
              <a:t>IT Helpdesk</a:t>
            </a:r>
            <a:r>
              <a:rPr lang="ko-KR" altLang="en-US" sz="840" dirty="0"/>
              <a:t>에서는 사용자가 언제라도 서비스를 지원받을 수 있도록 </a:t>
            </a:r>
            <a:r>
              <a:rPr lang="ko-KR" altLang="en-US" sz="840" dirty="0" err="1"/>
              <a:t>챗봇</a:t>
            </a:r>
            <a:r>
              <a:rPr lang="ko-KR" altLang="en-US" sz="840" dirty="0"/>
              <a:t> 서비스를 아이콘을 통해 제공하고 있습니다</a:t>
            </a:r>
            <a:r>
              <a:rPr lang="en-US" altLang="ko-KR" sz="840" dirty="0"/>
              <a:t>.</a:t>
            </a:r>
          </a:p>
          <a:p>
            <a:pPr>
              <a:spcBef>
                <a:spcPts val="800"/>
              </a:spcBef>
            </a:pPr>
            <a:r>
              <a:rPr lang="en-US" altLang="ko-KR" sz="840" dirty="0"/>
              <a:t>IT</a:t>
            </a:r>
            <a:r>
              <a:rPr lang="ko-KR" altLang="en-US" sz="840" dirty="0"/>
              <a:t> </a:t>
            </a:r>
            <a:r>
              <a:rPr lang="en-US" altLang="ko-KR" sz="840" dirty="0"/>
              <a:t>Helpdesk</a:t>
            </a:r>
            <a:r>
              <a:rPr lang="ko-KR" altLang="en-US" sz="840" dirty="0"/>
              <a:t> 서비스 화면에서 </a:t>
            </a:r>
            <a:r>
              <a:rPr lang="ko-KR" altLang="en-US" sz="840" dirty="0" err="1"/>
              <a:t>챗봇</a:t>
            </a:r>
            <a:r>
              <a:rPr lang="ko-KR" altLang="en-US" sz="840" dirty="0"/>
              <a:t> 아이콘을 클릭하여 채팅 화면으로 이동합니다</a:t>
            </a:r>
            <a:r>
              <a:rPr lang="en-US" altLang="ko-KR" sz="840" dirty="0"/>
              <a:t>.</a:t>
            </a:r>
          </a:p>
          <a:p>
            <a:pPr>
              <a:spcBef>
                <a:spcPts val="800"/>
              </a:spcBef>
            </a:pPr>
            <a:r>
              <a:rPr lang="ko-KR" altLang="en-US" sz="840" dirty="0"/>
              <a:t>사용자 </a:t>
            </a:r>
            <a:r>
              <a:rPr lang="ko-KR" altLang="en-US" sz="840" dirty="0">
                <a:latin typeface="Proxima Nova" panose="02000506030000020004" pitchFamily="2" charset="0"/>
              </a:rPr>
              <a:t>스스로 문제를 해결할 수 있도록 도움을 받을 수 있으며</a:t>
            </a:r>
            <a:r>
              <a:rPr lang="en-US" altLang="ko-KR" sz="840" dirty="0">
                <a:latin typeface="Proxima Nova" panose="02000506030000020004" pitchFamily="2" charset="0"/>
              </a:rPr>
              <a:t>, </a:t>
            </a:r>
            <a:r>
              <a:rPr lang="ko-KR" altLang="en-US" sz="840" dirty="0">
                <a:latin typeface="Proxima Nova" panose="02000506030000020004" pitchFamily="2" charset="0"/>
              </a:rPr>
              <a:t>상담원의 도움이 필요 할 경우 상담원 연결을 통해 문제를 해결 할 수 있습니다</a:t>
            </a:r>
            <a:r>
              <a:rPr lang="en-US" altLang="ko-KR" sz="840" dirty="0">
                <a:latin typeface="Proxima Nova" panose="02000506030000020004" pitchFamily="2" charset="0"/>
              </a:rPr>
              <a:t>.</a:t>
            </a:r>
            <a:endParaRPr lang="en-US" altLang="ko-KR" sz="840" dirty="0"/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E9BE0015-1509-4C28-8D42-F8BEBF0F999C}"/>
              </a:ext>
            </a:extLst>
          </p:cNvPr>
          <p:cNvGrpSpPr/>
          <p:nvPr/>
        </p:nvGrpSpPr>
        <p:grpSpPr>
          <a:xfrm>
            <a:off x="151351" y="847420"/>
            <a:ext cx="4772025" cy="6104996"/>
            <a:chOff x="0" y="-146858"/>
            <a:chExt cx="10439400" cy="13355440"/>
          </a:xfrm>
        </p:grpSpPr>
        <p:pic>
          <p:nvPicPr>
            <p:cNvPr id="31" name="그림 30">
              <a:extLst>
                <a:ext uri="{FF2B5EF4-FFF2-40B4-BE49-F238E27FC236}">
                  <a16:creationId xmlns:a16="http://schemas.microsoft.com/office/drawing/2014/main" id="{202B6A85-6AEB-4A85-BFA9-2E16F95A011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-146858"/>
              <a:ext cx="10439400" cy="3395689"/>
            </a:xfrm>
            <a:prstGeom prst="rect">
              <a:avLst/>
            </a:prstGeom>
          </p:spPr>
        </p:pic>
        <p:pic>
          <p:nvPicPr>
            <p:cNvPr id="32" name="그림 31">
              <a:extLst>
                <a:ext uri="{FF2B5EF4-FFF2-40B4-BE49-F238E27FC236}">
                  <a16:creationId xmlns:a16="http://schemas.microsoft.com/office/drawing/2014/main" id="{AA1A82F2-0322-42F2-A97C-73FA51F7A3A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3163625"/>
              <a:ext cx="10439400" cy="4699524"/>
            </a:xfrm>
            <a:prstGeom prst="rect">
              <a:avLst/>
            </a:prstGeom>
          </p:spPr>
        </p:pic>
        <p:pic>
          <p:nvPicPr>
            <p:cNvPr id="33" name="그림 32">
              <a:extLst>
                <a:ext uri="{FF2B5EF4-FFF2-40B4-BE49-F238E27FC236}">
                  <a16:creationId xmlns:a16="http://schemas.microsoft.com/office/drawing/2014/main" id="{33F0C872-C5F4-44A0-883A-006E111FFDE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0" y="7863149"/>
              <a:ext cx="10439400" cy="5345433"/>
            </a:xfrm>
            <a:prstGeom prst="rect">
              <a:avLst/>
            </a:prstGeom>
          </p:spPr>
        </p:pic>
      </p:grpSp>
      <p:sp>
        <p:nvSpPr>
          <p:cNvPr id="42" name="타원 41">
            <a:extLst>
              <a:ext uri="{FF2B5EF4-FFF2-40B4-BE49-F238E27FC236}">
                <a16:creationId xmlns:a16="http://schemas.microsoft.com/office/drawing/2014/main" id="{FFA494D1-E7C7-498B-8C60-1CA53B12F148}"/>
              </a:ext>
            </a:extLst>
          </p:cNvPr>
          <p:cNvSpPr/>
          <p:nvPr/>
        </p:nvSpPr>
        <p:spPr>
          <a:xfrm>
            <a:off x="4318171" y="6431421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53" name="직선 연결선 52">
            <a:extLst>
              <a:ext uri="{FF2B5EF4-FFF2-40B4-BE49-F238E27FC236}">
                <a16:creationId xmlns:a16="http://schemas.microsoft.com/office/drawing/2014/main" id="{05B3EEB7-E9C9-4135-9F2E-AA456994A0F1}"/>
              </a:ext>
            </a:extLst>
          </p:cNvPr>
          <p:cNvCxnSpPr>
            <a:cxnSpLocks/>
          </p:cNvCxnSpPr>
          <p:nvPr/>
        </p:nvCxnSpPr>
        <p:spPr>
          <a:xfrm>
            <a:off x="7636369" y="1536754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타원 58">
            <a:extLst>
              <a:ext uri="{FF2B5EF4-FFF2-40B4-BE49-F238E27FC236}">
                <a16:creationId xmlns:a16="http://schemas.microsoft.com/office/drawing/2014/main" id="{A1A9A8E6-55D0-45F7-B79A-C4BCF33367D0}"/>
              </a:ext>
            </a:extLst>
          </p:cNvPr>
          <p:cNvSpPr/>
          <p:nvPr/>
        </p:nvSpPr>
        <p:spPr>
          <a:xfrm>
            <a:off x="7710370" y="67150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60" name="타원 59">
            <a:extLst>
              <a:ext uri="{FF2B5EF4-FFF2-40B4-BE49-F238E27FC236}">
                <a16:creationId xmlns:a16="http://schemas.microsoft.com/office/drawing/2014/main" id="{B4B3078D-93B7-4A31-8A73-94CE0A41B532}"/>
              </a:ext>
            </a:extLst>
          </p:cNvPr>
          <p:cNvSpPr/>
          <p:nvPr/>
        </p:nvSpPr>
        <p:spPr>
          <a:xfrm>
            <a:off x="7699880" y="1595439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67" name="타원 66">
            <a:extLst>
              <a:ext uri="{FF2B5EF4-FFF2-40B4-BE49-F238E27FC236}">
                <a16:creationId xmlns:a16="http://schemas.microsoft.com/office/drawing/2014/main" id="{29F4AE57-F743-459E-A81E-172F570B72FF}"/>
              </a:ext>
            </a:extLst>
          </p:cNvPr>
          <p:cNvSpPr/>
          <p:nvPr/>
        </p:nvSpPr>
        <p:spPr>
          <a:xfrm>
            <a:off x="4379309" y="6470151"/>
            <a:ext cx="592618" cy="592618"/>
          </a:xfrm>
          <a:prstGeom prst="ellipse">
            <a:avLst/>
          </a:prstGeom>
          <a:noFill/>
          <a:ln w="19050">
            <a:solidFill>
              <a:srgbClr val="FF0000"/>
            </a:solidFill>
            <a:prstDash val="sys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E92AC687-32A1-46A8-8C39-AA4982961D7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065" t="5419"/>
          <a:stretch/>
        </p:blipFill>
        <p:spPr>
          <a:xfrm>
            <a:off x="4212262" y="1320542"/>
            <a:ext cx="1740054" cy="3178818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62DB3FEC-84A4-4754-9DF5-62F06D077A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52316" y="2593321"/>
            <a:ext cx="1487443" cy="2654804"/>
          </a:xfrm>
          <a:prstGeom prst="rect">
            <a:avLst/>
          </a:prstGeom>
        </p:spPr>
      </p:pic>
      <p:sp>
        <p:nvSpPr>
          <p:cNvPr id="52" name="타원 51">
            <a:extLst>
              <a:ext uri="{FF2B5EF4-FFF2-40B4-BE49-F238E27FC236}">
                <a16:creationId xmlns:a16="http://schemas.microsoft.com/office/drawing/2014/main" id="{5BE3EFC8-EE06-4F53-B0C1-5E2A0A81D169}"/>
              </a:ext>
            </a:extLst>
          </p:cNvPr>
          <p:cNvSpPr/>
          <p:nvPr/>
        </p:nvSpPr>
        <p:spPr>
          <a:xfrm>
            <a:off x="4087195" y="1234457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018188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B4530CF6-ADFD-41BD-8808-F8E59B2FFD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1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C4D55966-DC93-41EA-AF3D-ECEC2894A5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GUIDE-</a:t>
            </a:r>
            <a:r>
              <a:rPr lang="en-US" altLang="ko-KR" dirty="0" err="1"/>
              <a:t>MYHOME</a:t>
            </a:r>
            <a:r>
              <a:rPr lang="en-US" altLang="ko-KR" dirty="0"/>
              <a:t>-01</a:t>
            </a:r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1FDEF28-A5DC-489B-90F8-BBC8C1D8B6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내 프로필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974EA941-4447-4B0D-A8C2-B488DD0848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IT Helpdesk </a:t>
            </a:r>
            <a:r>
              <a:rPr lang="ko-KR" altLang="en-US" dirty="0"/>
              <a:t>우측 상단의 내 활동을 클릭하여 보여지는 하위 메뉴에서 프로필을 선택하면 </a:t>
            </a:r>
            <a:r>
              <a:rPr lang="en-US" altLang="ko-KR" dirty="0"/>
              <a:t>“</a:t>
            </a:r>
            <a:r>
              <a:rPr lang="ko-KR" altLang="en-US" dirty="0"/>
              <a:t>내 프로필＂ 화면으로 이동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내 프로필 화면에서는 사용자가 </a:t>
            </a:r>
            <a:r>
              <a:rPr lang="en-US" altLang="ko-KR" dirty="0"/>
              <a:t>IT Helpdesk FAQ, </a:t>
            </a:r>
            <a:r>
              <a:rPr lang="ko-KR" altLang="en-US" dirty="0"/>
              <a:t>매뉴얼</a:t>
            </a:r>
            <a:r>
              <a:rPr lang="en-US" altLang="ko-KR" dirty="0"/>
              <a:t>, </a:t>
            </a:r>
            <a:r>
              <a:rPr lang="ko-KR" altLang="en-US" dirty="0"/>
              <a:t>다운로드에 등록한 문서가 있거나</a:t>
            </a:r>
            <a:r>
              <a:rPr lang="en-US" altLang="ko-KR" dirty="0"/>
              <a:t>, </a:t>
            </a:r>
            <a:r>
              <a:rPr lang="ko-KR" altLang="en-US" dirty="0"/>
              <a:t>문서에 등록한 댓글 현황을 종합적으로 보여줍니다</a:t>
            </a:r>
            <a:r>
              <a:rPr lang="en-US" altLang="ko-KR" dirty="0"/>
              <a:t>.</a:t>
            </a:r>
          </a:p>
          <a:p>
            <a:pPr marL="85725" indent="-85725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활동 개요</a:t>
            </a:r>
            <a:r>
              <a:rPr lang="en-US" altLang="ko-KR" dirty="0"/>
              <a:t>: </a:t>
            </a:r>
            <a:r>
              <a:rPr lang="ko-KR" altLang="en-US" dirty="0"/>
              <a:t>종합 현황</a:t>
            </a:r>
            <a:endParaRPr lang="en-US" altLang="ko-KR" dirty="0"/>
          </a:p>
          <a:p>
            <a:pPr marL="85725" indent="-85725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문서</a:t>
            </a:r>
            <a:r>
              <a:rPr lang="en-US" altLang="ko-KR" dirty="0"/>
              <a:t>: </a:t>
            </a:r>
            <a:r>
              <a:rPr lang="ko-KR" altLang="en-US" dirty="0"/>
              <a:t>사용자가 </a:t>
            </a:r>
            <a:r>
              <a:rPr lang="en-US" altLang="ko-KR" dirty="0"/>
              <a:t>FAQ, </a:t>
            </a:r>
            <a:r>
              <a:rPr lang="ko-KR" altLang="en-US" dirty="0"/>
              <a:t>매뉴얼</a:t>
            </a:r>
            <a:r>
              <a:rPr lang="en-US" altLang="ko-KR" dirty="0"/>
              <a:t>, </a:t>
            </a:r>
            <a:r>
              <a:rPr lang="ko-KR" altLang="en-US" dirty="0"/>
              <a:t>다운로드에 등록한 문서 현황</a:t>
            </a:r>
            <a:endParaRPr lang="en-US" altLang="ko-KR" dirty="0"/>
          </a:p>
          <a:p>
            <a:pPr marL="85725" indent="-85725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댓글</a:t>
            </a:r>
            <a:r>
              <a:rPr lang="en-US" altLang="ko-KR" dirty="0"/>
              <a:t>: </a:t>
            </a:r>
            <a:r>
              <a:rPr lang="ko-KR" altLang="en-US" dirty="0"/>
              <a:t>사용자가 </a:t>
            </a:r>
            <a:r>
              <a:rPr lang="en-US" altLang="ko-KR" dirty="0"/>
              <a:t>FAQ, </a:t>
            </a:r>
            <a:r>
              <a:rPr lang="ko-KR" altLang="en-US" dirty="0"/>
              <a:t>매뉴얼</a:t>
            </a:r>
            <a:r>
              <a:rPr lang="en-US" altLang="ko-KR" dirty="0"/>
              <a:t>, </a:t>
            </a:r>
            <a:r>
              <a:rPr lang="ko-KR" altLang="en-US" dirty="0"/>
              <a:t>다운로드 문서에 등록한 댓글 현황</a:t>
            </a:r>
            <a:endParaRPr lang="en-US" altLang="ko-KR" dirty="0"/>
          </a:p>
          <a:p>
            <a:r>
              <a:rPr lang="ko-KR" altLang="en-US" dirty="0"/>
              <a:t>프로필 편집을 통해 사용자의 프로필을 편집할 수 있습니다</a:t>
            </a:r>
            <a:r>
              <a:rPr lang="en-US" altLang="ko-KR" dirty="0"/>
              <a:t>. </a:t>
            </a:r>
            <a:r>
              <a:rPr lang="ko-KR" altLang="en-US" dirty="0"/>
              <a:t>단</a:t>
            </a:r>
            <a:r>
              <a:rPr lang="en-US" altLang="ko-KR" dirty="0"/>
              <a:t>, </a:t>
            </a:r>
            <a:r>
              <a:rPr lang="ko-KR" altLang="en-US" dirty="0"/>
              <a:t>기본 정보는 수정이 불가하며 설명 필드만 수정할 수 있습니다</a:t>
            </a:r>
            <a:r>
              <a:rPr lang="en-US" altLang="ko-KR" dirty="0"/>
              <a:t>.</a:t>
            </a:r>
          </a:p>
          <a:p>
            <a:r>
              <a:rPr lang="ko-KR" altLang="en-US" dirty="0" err="1"/>
              <a:t>즐겨찾는</a:t>
            </a:r>
            <a:r>
              <a:rPr lang="ko-KR" altLang="en-US" dirty="0"/>
              <a:t> 서비스를 통해 서비스 요청에서 지정하는 어플리케이션을 미리 등록하여 활용할 수 있습니다</a:t>
            </a:r>
            <a:r>
              <a:rPr lang="en-US" altLang="ko-KR" dirty="0"/>
              <a:t>.</a:t>
            </a:r>
          </a:p>
          <a:p>
            <a:endParaRPr lang="ko-KR" altLang="en-US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59942CD4-56AF-434A-9BD0-6CEF9354CA3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710"/>
          <a:stretch/>
        </p:blipFill>
        <p:spPr>
          <a:xfrm>
            <a:off x="348836" y="806622"/>
            <a:ext cx="6922294" cy="1822278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82C4D8A7-F0AB-4904-A724-DBE0E08A76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412" y="3307573"/>
            <a:ext cx="6883718" cy="3626168"/>
          </a:xfrm>
          <a:prstGeom prst="rect">
            <a:avLst/>
          </a:prstGeom>
        </p:spPr>
      </p:pic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7DCDA86D-1C3D-49A5-B822-EA6BE57C8C8E}"/>
              </a:ext>
            </a:extLst>
          </p:cNvPr>
          <p:cNvSpPr/>
          <p:nvPr/>
        </p:nvSpPr>
        <p:spPr>
          <a:xfrm>
            <a:off x="6522244" y="1073479"/>
            <a:ext cx="667145" cy="807161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자유형: 도형 8">
            <a:extLst>
              <a:ext uri="{FF2B5EF4-FFF2-40B4-BE49-F238E27FC236}">
                <a16:creationId xmlns:a16="http://schemas.microsoft.com/office/drawing/2014/main" id="{E0F0FD90-DD20-4846-B539-4F1749E2E2C4}"/>
              </a:ext>
            </a:extLst>
          </p:cNvPr>
          <p:cNvSpPr/>
          <p:nvPr/>
        </p:nvSpPr>
        <p:spPr>
          <a:xfrm rot="20027414" flipH="1">
            <a:off x="6144021" y="2035133"/>
            <a:ext cx="981475" cy="1210797"/>
          </a:xfrm>
          <a:custGeom>
            <a:avLst/>
            <a:gdLst>
              <a:gd name="connsiteX0" fmla="*/ 0 w 657380"/>
              <a:gd name="connsiteY0" fmla="*/ 0 h 684789"/>
              <a:gd name="connsiteX1" fmla="*/ 11037 w 657380"/>
              <a:gd name="connsiteY1" fmla="*/ 3668 h 684789"/>
              <a:gd name="connsiteX2" fmla="*/ 8532 w 657380"/>
              <a:gd name="connsiteY2" fmla="*/ 11573 h 684789"/>
              <a:gd name="connsiteX3" fmla="*/ 9280 w 657380"/>
              <a:gd name="connsiteY3" fmla="*/ 18674 h 684789"/>
              <a:gd name="connsiteX4" fmla="*/ 9281 w 657380"/>
              <a:gd name="connsiteY4" fmla="*/ 18674 h 684789"/>
              <a:gd name="connsiteX5" fmla="*/ 34683 w 657380"/>
              <a:gd name="connsiteY5" fmla="*/ 97656 h 684789"/>
              <a:gd name="connsiteX6" fmla="*/ 47126 w 657380"/>
              <a:gd name="connsiteY6" fmla="*/ 122140 h 684789"/>
              <a:gd name="connsiteX7" fmla="*/ 74579 w 657380"/>
              <a:gd name="connsiteY7" fmla="*/ 171743 h 684789"/>
              <a:gd name="connsiteX8" fmla="*/ 94082 w 657380"/>
              <a:gd name="connsiteY8" fmla="*/ 198437 h 684789"/>
              <a:gd name="connsiteX9" fmla="*/ 127971 w 657380"/>
              <a:gd name="connsiteY9" fmla="*/ 239850 h 684789"/>
              <a:gd name="connsiteX10" fmla="*/ 153059 w 657380"/>
              <a:gd name="connsiteY10" fmla="*/ 265146 h 684789"/>
              <a:gd name="connsiteX11" fmla="*/ 194020 w 657380"/>
              <a:gd name="connsiteY11" fmla="*/ 300926 h 684789"/>
              <a:gd name="connsiteX12" fmla="*/ 223423 w 657380"/>
              <a:gd name="connsiteY12" fmla="*/ 323210 h 684789"/>
              <a:gd name="connsiteX13" fmla="*/ 272343 w 657380"/>
              <a:gd name="connsiteY13" fmla="*/ 354011 h 684789"/>
              <a:gd name="connsiteX14" fmla="*/ 304229 w 657380"/>
              <a:gd name="connsiteY14" fmla="*/ 372058 h 684789"/>
              <a:gd name="connsiteX15" fmla="*/ 364466 w 657380"/>
              <a:gd name="connsiteY15" fmla="*/ 398536 h 684789"/>
              <a:gd name="connsiteX16" fmla="*/ 394452 w 657380"/>
              <a:gd name="connsiteY16" fmla="*/ 410763 h 684789"/>
              <a:gd name="connsiteX17" fmla="*/ 493035 w 657380"/>
              <a:gd name="connsiteY17" fmla="*/ 438272 h 684789"/>
              <a:gd name="connsiteX18" fmla="*/ 493035 w 657380"/>
              <a:gd name="connsiteY18" fmla="*/ 356099 h 684789"/>
              <a:gd name="connsiteX19" fmla="*/ 657380 w 657380"/>
              <a:gd name="connsiteY19" fmla="*/ 537091 h 684789"/>
              <a:gd name="connsiteX20" fmla="*/ 493035 w 657380"/>
              <a:gd name="connsiteY20" fmla="*/ 684789 h 684789"/>
              <a:gd name="connsiteX21" fmla="*/ 493035 w 657380"/>
              <a:gd name="connsiteY21" fmla="*/ 602617 h 684789"/>
              <a:gd name="connsiteX22" fmla="*/ 293551 w 657380"/>
              <a:gd name="connsiteY22" fmla="*/ 531710 h 684789"/>
              <a:gd name="connsiteX23" fmla="*/ 0 w 657380"/>
              <a:gd name="connsiteY23" fmla="*/ 95025 h 684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57380" h="684789">
                <a:moveTo>
                  <a:pt x="0" y="0"/>
                </a:moveTo>
                <a:lnTo>
                  <a:pt x="11037" y="3668"/>
                </a:lnTo>
                <a:lnTo>
                  <a:pt x="8532" y="11573"/>
                </a:lnTo>
                <a:lnTo>
                  <a:pt x="9280" y="18674"/>
                </a:lnTo>
                <a:lnTo>
                  <a:pt x="9281" y="18674"/>
                </a:lnTo>
                <a:lnTo>
                  <a:pt x="34683" y="97656"/>
                </a:lnTo>
                <a:lnTo>
                  <a:pt x="47126" y="122140"/>
                </a:lnTo>
                <a:lnTo>
                  <a:pt x="74579" y="171743"/>
                </a:lnTo>
                <a:lnTo>
                  <a:pt x="94082" y="198437"/>
                </a:lnTo>
                <a:lnTo>
                  <a:pt x="127971" y="239850"/>
                </a:lnTo>
                <a:lnTo>
                  <a:pt x="153059" y="265146"/>
                </a:lnTo>
                <a:lnTo>
                  <a:pt x="194020" y="300926"/>
                </a:lnTo>
                <a:lnTo>
                  <a:pt x="223423" y="323210"/>
                </a:lnTo>
                <a:lnTo>
                  <a:pt x="272343" y="354011"/>
                </a:lnTo>
                <a:lnTo>
                  <a:pt x="304229" y="372058"/>
                </a:lnTo>
                <a:lnTo>
                  <a:pt x="364466" y="398536"/>
                </a:lnTo>
                <a:lnTo>
                  <a:pt x="394452" y="410763"/>
                </a:lnTo>
                <a:lnTo>
                  <a:pt x="493035" y="438272"/>
                </a:lnTo>
                <a:lnTo>
                  <a:pt x="493035" y="356099"/>
                </a:lnTo>
                <a:lnTo>
                  <a:pt x="657380" y="537091"/>
                </a:lnTo>
                <a:lnTo>
                  <a:pt x="493035" y="684789"/>
                </a:lnTo>
                <a:lnTo>
                  <a:pt x="493035" y="602617"/>
                </a:lnTo>
                <a:cubicBezTo>
                  <a:pt x="420474" y="587676"/>
                  <a:pt x="353379" y="563422"/>
                  <a:pt x="293551" y="531710"/>
                </a:cubicBezTo>
                <a:cubicBezTo>
                  <a:pt x="114069" y="436573"/>
                  <a:pt x="0" y="274314"/>
                  <a:pt x="0" y="95025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accent6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BF6ED3B4-933B-42DF-91E4-1C8A86EA847C}"/>
              </a:ext>
            </a:extLst>
          </p:cNvPr>
          <p:cNvSpPr/>
          <p:nvPr/>
        </p:nvSpPr>
        <p:spPr>
          <a:xfrm>
            <a:off x="6481727" y="996963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2665767D-21BA-4574-AC85-AD49CC18C779}"/>
              </a:ext>
            </a:extLst>
          </p:cNvPr>
          <p:cNvSpPr/>
          <p:nvPr/>
        </p:nvSpPr>
        <p:spPr>
          <a:xfrm>
            <a:off x="883444" y="5120657"/>
            <a:ext cx="2574131" cy="1813084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타원 11">
            <a:extLst>
              <a:ext uri="{FF2B5EF4-FFF2-40B4-BE49-F238E27FC236}">
                <a16:creationId xmlns:a16="http://schemas.microsoft.com/office/drawing/2014/main" id="{C8064914-A845-465C-9394-2CE706DF8E6C}"/>
              </a:ext>
            </a:extLst>
          </p:cNvPr>
          <p:cNvSpPr/>
          <p:nvPr/>
        </p:nvSpPr>
        <p:spPr>
          <a:xfrm>
            <a:off x="806928" y="5044141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DD1846F7-90A2-4A87-AD39-C7F73217A275}"/>
              </a:ext>
            </a:extLst>
          </p:cNvPr>
          <p:cNvSpPr/>
          <p:nvPr/>
        </p:nvSpPr>
        <p:spPr>
          <a:xfrm>
            <a:off x="5271178" y="3903881"/>
            <a:ext cx="655920" cy="255370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6E03C126-6F2D-45CA-91B7-CD1D5D55A171}"/>
              </a:ext>
            </a:extLst>
          </p:cNvPr>
          <p:cNvSpPr/>
          <p:nvPr/>
        </p:nvSpPr>
        <p:spPr>
          <a:xfrm>
            <a:off x="5978838" y="3903881"/>
            <a:ext cx="655920" cy="255370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타원 14">
            <a:extLst>
              <a:ext uri="{FF2B5EF4-FFF2-40B4-BE49-F238E27FC236}">
                <a16:creationId xmlns:a16="http://schemas.microsoft.com/office/drawing/2014/main" id="{EAEFD25C-1067-467B-BAFC-781D880F5D44}"/>
              </a:ext>
            </a:extLst>
          </p:cNvPr>
          <p:cNvSpPr/>
          <p:nvPr/>
        </p:nvSpPr>
        <p:spPr>
          <a:xfrm>
            <a:off x="5123372" y="3834073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16" name="타원 15">
            <a:extLst>
              <a:ext uri="{FF2B5EF4-FFF2-40B4-BE49-F238E27FC236}">
                <a16:creationId xmlns:a16="http://schemas.microsoft.com/office/drawing/2014/main" id="{88BC81A5-9E74-456F-97E9-0ACA7022BE92}"/>
              </a:ext>
            </a:extLst>
          </p:cNvPr>
          <p:cNvSpPr/>
          <p:nvPr/>
        </p:nvSpPr>
        <p:spPr>
          <a:xfrm>
            <a:off x="5998388" y="383836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6B83BEDA-CE74-413B-9709-A98B0A376707}"/>
              </a:ext>
            </a:extLst>
          </p:cNvPr>
          <p:cNvCxnSpPr>
            <a:cxnSpLocks/>
          </p:cNvCxnSpPr>
          <p:nvPr/>
        </p:nvCxnSpPr>
        <p:spPr>
          <a:xfrm>
            <a:off x="7636369" y="1222429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타원 17">
            <a:extLst>
              <a:ext uri="{FF2B5EF4-FFF2-40B4-BE49-F238E27FC236}">
                <a16:creationId xmlns:a16="http://schemas.microsoft.com/office/drawing/2014/main" id="{122F4973-F400-4475-87AA-41AEBBD8788F}"/>
              </a:ext>
            </a:extLst>
          </p:cNvPr>
          <p:cNvSpPr/>
          <p:nvPr/>
        </p:nvSpPr>
        <p:spPr>
          <a:xfrm>
            <a:off x="7699880" y="1281114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19" name="타원 18">
            <a:extLst>
              <a:ext uri="{FF2B5EF4-FFF2-40B4-BE49-F238E27FC236}">
                <a16:creationId xmlns:a16="http://schemas.microsoft.com/office/drawing/2014/main" id="{D4D2455E-0B8E-491C-B2E7-64435C012777}"/>
              </a:ext>
            </a:extLst>
          </p:cNvPr>
          <p:cNvSpPr/>
          <p:nvPr/>
        </p:nvSpPr>
        <p:spPr>
          <a:xfrm>
            <a:off x="7699880" y="730105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21" name="직선 연결선 20">
            <a:extLst>
              <a:ext uri="{FF2B5EF4-FFF2-40B4-BE49-F238E27FC236}">
                <a16:creationId xmlns:a16="http://schemas.microsoft.com/office/drawing/2014/main" id="{F1EA86F3-0849-44DB-8F0C-74F21205C585}"/>
              </a:ext>
            </a:extLst>
          </p:cNvPr>
          <p:cNvCxnSpPr>
            <a:cxnSpLocks/>
          </p:cNvCxnSpPr>
          <p:nvPr/>
        </p:nvCxnSpPr>
        <p:spPr>
          <a:xfrm>
            <a:off x="7613630" y="2708329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타원 21">
            <a:extLst>
              <a:ext uri="{FF2B5EF4-FFF2-40B4-BE49-F238E27FC236}">
                <a16:creationId xmlns:a16="http://schemas.microsoft.com/office/drawing/2014/main" id="{BAE8774C-2808-451D-932C-894F259F4CFD}"/>
              </a:ext>
            </a:extLst>
          </p:cNvPr>
          <p:cNvSpPr/>
          <p:nvPr/>
        </p:nvSpPr>
        <p:spPr>
          <a:xfrm>
            <a:off x="7677141" y="2767014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874DD9F6-FAF3-444B-BCFC-A1002BEF151B}"/>
              </a:ext>
            </a:extLst>
          </p:cNvPr>
          <p:cNvCxnSpPr>
            <a:cxnSpLocks/>
          </p:cNvCxnSpPr>
          <p:nvPr/>
        </p:nvCxnSpPr>
        <p:spPr>
          <a:xfrm>
            <a:off x="7632569" y="3248888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타원 23">
            <a:extLst>
              <a:ext uri="{FF2B5EF4-FFF2-40B4-BE49-F238E27FC236}">
                <a16:creationId xmlns:a16="http://schemas.microsoft.com/office/drawing/2014/main" id="{FAE0607C-482D-4951-9B55-3D81B907EBFE}"/>
              </a:ext>
            </a:extLst>
          </p:cNvPr>
          <p:cNvSpPr/>
          <p:nvPr/>
        </p:nvSpPr>
        <p:spPr>
          <a:xfrm>
            <a:off x="7696080" y="3307573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705973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13975AEE-8C7D-434F-942F-4E315BC61D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2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EA93C20-DCB8-4ADB-AD18-4C043238EF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GUIDE-</a:t>
            </a:r>
            <a:r>
              <a:rPr lang="en-US" altLang="ko-KR" dirty="0" err="1"/>
              <a:t>MYHOME</a:t>
            </a:r>
            <a:r>
              <a:rPr lang="en-US" altLang="ko-KR" dirty="0"/>
              <a:t>-02</a:t>
            </a:r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16497844-A81E-41F7-9A82-CC19C1CD6C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 err="1"/>
              <a:t>즐겨찾는</a:t>
            </a:r>
            <a:r>
              <a:rPr lang="ko-KR" altLang="en-US" dirty="0"/>
              <a:t> 서비스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1B746221-3634-463C-B24D-CDE85C1E44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HOME </a:t>
            </a:r>
            <a:r>
              <a:rPr lang="ko-KR" altLang="en-US" dirty="0"/>
              <a:t>화면의 </a:t>
            </a:r>
            <a:r>
              <a:rPr lang="ko-KR" altLang="en-US" dirty="0" err="1"/>
              <a:t>즐겨찾는</a:t>
            </a:r>
            <a:r>
              <a:rPr lang="ko-KR" altLang="en-US" dirty="0"/>
              <a:t> 서비스 또는 내 프로필 화면의 </a:t>
            </a:r>
            <a:r>
              <a:rPr lang="ko-KR" altLang="en-US" dirty="0" err="1"/>
              <a:t>즐겨찾는</a:t>
            </a:r>
            <a:r>
              <a:rPr lang="ko-KR" altLang="en-US" dirty="0"/>
              <a:t> 서비스를 통해 </a:t>
            </a:r>
            <a:r>
              <a:rPr lang="ko-KR" altLang="en-US" dirty="0" err="1"/>
              <a:t>즐겨찾는</a:t>
            </a:r>
            <a:r>
              <a:rPr lang="ko-KR" altLang="en-US" dirty="0"/>
              <a:t> 어플리케이션을 등록 또는 삭제할 수 있습니다</a:t>
            </a:r>
            <a:r>
              <a:rPr lang="en-US" altLang="ko-KR" dirty="0"/>
              <a:t>.</a:t>
            </a:r>
          </a:p>
          <a:p>
            <a:pPr marL="85725" indent="-85725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이미 등록된 </a:t>
            </a:r>
            <a:r>
              <a:rPr lang="ko-KR" altLang="en-US" dirty="0" err="1"/>
              <a:t>즐겨찾는</a:t>
            </a:r>
            <a:r>
              <a:rPr lang="ko-KR" altLang="en-US" dirty="0"/>
              <a:t> 서비스가 있다면 </a:t>
            </a:r>
            <a:r>
              <a:rPr lang="en-US" altLang="ko-KR" dirty="0"/>
              <a:t>“</a:t>
            </a:r>
            <a:r>
              <a:rPr lang="ko-KR" altLang="en-US" dirty="0"/>
              <a:t>등록된 서비스＂ 목록에 보여집니다</a:t>
            </a:r>
            <a:r>
              <a:rPr lang="en-US" altLang="ko-KR" dirty="0"/>
              <a:t>.</a:t>
            </a:r>
          </a:p>
          <a:p>
            <a:pPr marL="85725" indent="-85725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 err="1"/>
              <a:t>즐겨찾는</a:t>
            </a:r>
            <a:r>
              <a:rPr lang="ko-KR" altLang="en-US" dirty="0"/>
              <a:t> 서비스는 최대 </a:t>
            </a:r>
            <a:r>
              <a:rPr lang="en-US" altLang="ko-KR" dirty="0"/>
              <a:t>10</a:t>
            </a:r>
            <a:r>
              <a:rPr lang="ko-KR" altLang="en-US" dirty="0"/>
              <a:t>개까지 등록할 수 있습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입력 필드에 검색어를 입력하여 검색 버튼을 클릭합니다</a:t>
            </a:r>
            <a:r>
              <a:rPr lang="en-US" altLang="ko-KR" dirty="0"/>
              <a:t>. (</a:t>
            </a:r>
            <a:r>
              <a:rPr lang="ko-KR" altLang="en-US" dirty="0"/>
              <a:t>검색어 예시</a:t>
            </a:r>
            <a:r>
              <a:rPr lang="en-US" altLang="ko-KR" dirty="0"/>
              <a:t>: </a:t>
            </a:r>
            <a:r>
              <a:rPr lang="ko-KR" altLang="en-US" dirty="0"/>
              <a:t>아모레</a:t>
            </a:r>
            <a:r>
              <a:rPr lang="en-US" altLang="ko-KR" dirty="0"/>
              <a:t>)</a:t>
            </a:r>
          </a:p>
          <a:p>
            <a:r>
              <a:rPr lang="ko-KR" altLang="en-US" dirty="0"/>
              <a:t>검색된 결과에서 </a:t>
            </a:r>
            <a:r>
              <a:rPr lang="ko-KR" altLang="en-US" dirty="0" err="1"/>
              <a:t>즐겨찾기로</a:t>
            </a:r>
            <a:r>
              <a:rPr lang="ko-KR" altLang="en-US" dirty="0"/>
              <a:t> 등록한 서비스명을 클릭합니다</a:t>
            </a:r>
            <a:r>
              <a:rPr lang="en-US" altLang="ko-KR" dirty="0"/>
              <a:t>.</a:t>
            </a:r>
          </a:p>
          <a:p>
            <a:pPr>
              <a:spcBef>
                <a:spcPts val="200"/>
              </a:spcBef>
            </a:pPr>
            <a:r>
              <a:rPr lang="ko-KR" altLang="en-US" dirty="0"/>
              <a:t>서비스명은 한번 클릭하면 선택되고 다시 클릭하면 해제되는 것이 반복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서비스를 </a:t>
            </a:r>
            <a:r>
              <a:rPr lang="en-US" altLang="ko-KR" dirty="0"/>
              <a:t>1</a:t>
            </a:r>
            <a:r>
              <a:rPr lang="ko-KR" altLang="en-US" dirty="0"/>
              <a:t>개 이상 선택하면 </a:t>
            </a:r>
            <a:r>
              <a:rPr lang="ko-KR" altLang="en-US" dirty="0" err="1"/>
              <a:t>즐겨찾기에</a:t>
            </a:r>
            <a:r>
              <a:rPr lang="ko-KR" altLang="en-US" dirty="0"/>
              <a:t> 추가할 수 있는 화살표가 활성화 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활성화된 화살표 버튼을 클릭하여 선택한 서비스를 </a:t>
            </a:r>
            <a:r>
              <a:rPr lang="ko-KR" altLang="en-US" dirty="0" err="1"/>
              <a:t>즐겨찾는</a:t>
            </a:r>
            <a:r>
              <a:rPr lang="ko-KR" altLang="en-US" dirty="0"/>
              <a:t> 서비스 목록에 추가합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“</a:t>
            </a:r>
            <a:r>
              <a:rPr lang="ko-KR" altLang="en-US" dirty="0"/>
              <a:t>추가</a:t>
            </a:r>
            <a:r>
              <a:rPr lang="en-US" altLang="ko-KR" dirty="0"/>
              <a:t>” </a:t>
            </a:r>
            <a:r>
              <a:rPr lang="ko-KR" altLang="en-US" dirty="0" err="1"/>
              <a:t>보튼을</a:t>
            </a:r>
            <a:r>
              <a:rPr lang="ko-KR" altLang="en-US" dirty="0"/>
              <a:t> 클릭하여 목록에 추가한 </a:t>
            </a:r>
            <a:r>
              <a:rPr lang="ko-KR" altLang="en-US" dirty="0" err="1"/>
              <a:t>즐겨찾는</a:t>
            </a:r>
            <a:r>
              <a:rPr lang="ko-KR" altLang="en-US" dirty="0"/>
              <a:t> 서비스를 등록합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159D4CDC-66A0-44AC-A655-813D051808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921" y="917544"/>
            <a:ext cx="4091940" cy="193395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7E5E4E87-5AA7-4F5B-B4BC-F54E778AF4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0588" y="1837168"/>
            <a:ext cx="4078224" cy="254660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12BB9FCA-779C-4A49-AAEE-71D8270287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58582" y="4242707"/>
            <a:ext cx="4069080" cy="2766060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B76B51DE-B2DC-4F97-8BAF-093C0EEB05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2098" y="3331515"/>
            <a:ext cx="3621024" cy="68122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2" name="자유형: 도형 11">
            <a:extLst>
              <a:ext uri="{FF2B5EF4-FFF2-40B4-BE49-F238E27FC236}">
                <a16:creationId xmlns:a16="http://schemas.microsoft.com/office/drawing/2014/main" id="{5A6B270F-E86B-4982-A8B8-B52761DC1F8D}"/>
              </a:ext>
            </a:extLst>
          </p:cNvPr>
          <p:cNvSpPr/>
          <p:nvPr/>
        </p:nvSpPr>
        <p:spPr>
          <a:xfrm rot="17135690" flipH="1">
            <a:off x="4466012" y="1124648"/>
            <a:ext cx="490737" cy="605398"/>
          </a:xfrm>
          <a:custGeom>
            <a:avLst/>
            <a:gdLst>
              <a:gd name="connsiteX0" fmla="*/ 0 w 657380"/>
              <a:gd name="connsiteY0" fmla="*/ 0 h 684789"/>
              <a:gd name="connsiteX1" fmla="*/ 11037 w 657380"/>
              <a:gd name="connsiteY1" fmla="*/ 3668 h 684789"/>
              <a:gd name="connsiteX2" fmla="*/ 8532 w 657380"/>
              <a:gd name="connsiteY2" fmla="*/ 11573 h 684789"/>
              <a:gd name="connsiteX3" fmla="*/ 9280 w 657380"/>
              <a:gd name="connsiteY3" fmla="*/ 18674 h 684789"/>
              <a:gd name="connsiteX4" fmla="*/ 9281 w 657380"/>
              <a:gd name="connsiteY4" fmla="*/ 18674 h 684789"/>
              <a:gd name="connsiteX5" fmla="*/ 34683 w 657380"/>
              <a:gd name="connsiteY5" fmla="*/ 97656 h 684789"/>
              <a:gd name="connsiteX6" fmla="*/ 47126 w 657380"/>
              <a:gd name="connsiteY6" fmla="*/ 122140 h 684789"/>
              <a:gd name="connsiteX7" fmla="*/ 74579 w 657380"/>
              <a:gd name="connsiteY7" fmla="*/ 171743 h 684789"/>
              <a:gd name="connsiteX8" fmla="*/ 94082 w 657380"/>
              <a:gd name="connsiteY8" fmla="*/ 198437 h 684789"/>
              <a:gd name="connsiteX9" fmla="*/ 127971 w 657380"/>
              <a:gd name="connsiteY9" fmla="*/ 239850 h 684789"/>
              <a:gd name="connsiteX10" fmla="*/ 153059 w 657380"/>
              <a:gd name="connsiteY10" fmla="*/ 265146 h 684789"/>
              <a:gd name="connsiteX11" fmla="*/ 194020 w 657380"/>
              <a:gd name="connsiteY11" fmla="*/ 300926 h 684789"/>
              <a:gd name="connsiteX12" fmla="*/ 223423 w 657380"/>
              <a:gd name="connsiteY12" fmla="*/ 323210 h 684789"/>
              <a:gd name="connsiteX13" fmla="*/ 272343 w 657380"/>
              <a:gd name="connsiteY13" fmla="*/ 354011 h 684789"/>
              <a:gd name="connsiteX14" fmla="*/ 304229 w 657380"/>
              <a:gd name="connsiteY14" fmla="*/ 372058 h 684789"/>
              <a:gd name="connsiteX15" fmla="*/ 364466 w 657380"/>
              <a:gd name="connsiteY15" fmla="*/ 398536 h 684789"/>
              <a:gd name="connsiteX16" fmla="*/ 394452 w 657380"/>
              <a:gd name="connsiteY16" fmla="*/ 410763 h 684789"/>
              <a:gd name="connsiteX17" fmla="*/ 493035 w 657380"/>
              <a:gd name="connsiteY17" fmla="*/ 438272 h 684789"/>
              <a:gd name="connsiteX18" fmla="*/ 493035 w 657380"/>
              <a:gd name="connsiteY18" fmla="*/ 356099 h 684789"/>
              <a:gd name="connsiteX19" fmla="*/ 657380 w 657380"/>
              <a:gd name="connsiteY19" fmla="*/ 537091 h 684789"/>
              <a:gd name="connsiteX20" fmla="*/ 493035 w 657380"/>
              <a:gd name="connsiteY20" fmla="*/ 684789 h 684789"/>
              <a:gd name="connsiteX21" fmla="*/ 493035 w 657380"/>
              <a:gd name="connsiteY21" fmla="*/ 602617 h 684789"/>
              <a:gd name="connsiteX22" fmla="*/ 293551 w 657380"/>
              <a:gd name="connsiteY22" fmla="*/ 531710 h 684789"/>
              <a:gd name="connsiteX23" fmla="*/ 0 w 657380"/>
              <a:gd name="connsiteY23" fmla="*/ 95025 h 684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57380" h="684789">
                <a:moveTo>
                  <a:pt x="0" y="0"/>
                </a:moveTo>
                <a:lnTo>
                  <a:pt x="11037" y="3668"/>
                </a:lnTo>
                <a:lnTo>
                  <a:pt x="8532" y="11573"/>
                </a:lnTo>
                <a:lnTo>
                  <a:pt x="9280" y="18674"/>
                </a:lnTo>
                <a:lnTo>
                  <a:pt x="9281" y="18674"/>
                </a:lnTo>
                <a:lnTo>
                  <a:pt x="34683" y="97656"/>
                </a:lnTo>
                <a:lnTo>
                  <a:pt x="47126" y="122140"/>
                </a:lnTo>
                <a:lnTo>
                  <a:pt x="74579" y="171743"/>
                </a:lnTo>
                <a:lnTo>
                  <a:pt x="94082" y="198437"/>
                </a:lnTo>
                <a:lnTo>
                  <a:pt x="127971" y="239850"/>
                </a:lnTo>
                <a:lnTo>
                  <a:pt x="153059" y="265146"/>
                </a:lnTo>
                <a:lnTo>
                  <a:pt x="194020" y="300926"/>
                </a:lnTo>
                <a:lnTo>
                  <a:pt x="223423" y="323210"/>
                </a:lnTo>
                <a:lnTo>
                  <a:pt x="272343" y="354011"/>
                </a:lnTo>
                <a:lnTo>
                  <a:pt x="304229" y="372058"/>
                </a:lnTo>
                <a:lnTo>
                  <a:pt x="364466" y="398536"/>
                </a:lnTo>
                <a:lnTo>
                  <a:pt x="394452" y="410763"/>
                </a:lnTo>
                <a:lnTo>
                  <a:pt x="493035" y="438272"/>
                </a:lnTo>
                <a:lnTo>
                  <a:pt x="493035" y="356099"/>
                </a:lnTo>
                <a:lnTo>
                  <a:pt x="657380" y="537091"/>
                </a:lnTo>
                <a:lnTo>
                  <a:pt x="493035" y="684789"/>
                </a:lnTo>
                <a:lnTo>
                  <a:pt x="493035" y="602617"/>
                </a:lnTo>
                <a:cubicBezTo>
                  <a:pt x="420474" y="587676"/>
                  <a:pt x="353379" y="563422"/>
                  <a:pt x="293551" y="531710"/>
                </a:cubicBezTo>
                <a:cubicBezTo>
                  <a:pt x="114069" y="436573"/>
                  <a:pt x="0" y="274314"/>
                  <a:pt x="0" y="95025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sp>
        <p:nvSpPr>
          <p:cNvPr id="13" name="자유형: 도형 12">
            <a:extLst>
              <a:ext uri="{FF2B5EF4-FFF2-40B4-BE49-F238E27FC236}">
                <a16:creationId xmlns:a16="http://schemas.microsoft.com/office/drawing/2014/main" id="{E5DC8BE3-07F3-4267-BE5D-426677FC8B03}"/>
              </a:ext>
            </a:extLst>
          </p:cNvPr>
          <p:cNvSpPr/>
          <p:nvPr/>
        </p:nvSpPr>
        <p:spPr>
          <a:xfrm rot="320863" flipH="1">
            <a:off x="4169078" y="3245453"/>
            <a:ext cx="490737" cy="605398"/>
          </a:xfrm>
          <a:custGeom>
            <a:avLst/>
            <a:gdLst>
              <a:gd name="connsiteX0" fmla="*/ 0 w 657380"/>
              <a:gd name="connsiteY0" fmla="*/ 0 h 684789"/>
              <a:gd name="connsiteX1" fmla="*/ 11037 w 657380"/>
              <a:gd name="connsiteY1" fmla="*/ 3668 h 684789"/>
              <a:gd name="connsiteX2" fmla="*/ 8532 w 657380"/>
              <a:gd name="connsiteY2" fmla="*/ 11573 h 684789"/>
              <a:gd name="connsiteX3" fmla="*/ 9280 w 657380"/>
              <a:gd name="connsiteY3" fmla="*/ 18674 h 684789"/>
              <a:gd name="connsiteX4" fmla="*/ 9281 w 657380"/>
              <a:gd name="connsiteY4" fmla="*/ 18674 h 684789"/>
              <a:gd name="connsiteX5" fmla="*/ 34683 w 657380"/>
              <a:gd name="connsiteY5" fmla="*/ 97656 h 684789"/>
              <a:gd name="connsiteX6" fmla="*/ 47126 w 657380"/>
              <a:gd name="connsiteY6" fmla="*/ 122140 h 684789"/>
              <a:gd name="connsiteX7" fmla="*/ 74579 w 657380"/>
              <a:gd name="connsiteY7" fmla="*/ 171743 h 684789"/>
              <a:gd name="connsiteX8" fmla="*/ 94082 w 657380"/>
              <a:gd name="connsiteY8" fmla="*/ 198437 h 684789"/>
              <a:gd name="connsiteX9" fmla="*/ 127971 w 657380"/>
              <a:gd name="connsiteY9" fmla="*/ 239850 h 684789"/>
              <a:gd name="connsiteX10" fmla="*/ 153059 w 657380"/>
              <a:gd name="connsiteY10" fmla="*/ 265146 h 684789"/>
              <a:gd name="connsiteX11" fmla="*/ 194020 w 657380"/>
              <a:gd name="connsiteY11" fmla="*/ 300926 h 684789"/>
              <a:gd name="connsiteX12" fmla="*/ 223423 w 657380"/>
              <a:gd name="connsiteY12" fmla="*/ 323210 h 684789"/>
              <a:gd name="connsiteX13" fmla="*/ 272343 w 657380"/>
              <a:gd name="connsiteY13" fmla="*/ 354011 h 684789"/>
              <a:gd name="connsiteX14" fmla="*/ 304229 w 657380"/>
              <a:gd name="connsiteY14" fmla="*/ 372058 h 684789"/>
              <a:gd name="connsiteX15" fmla="*/ 364466 w 657380"/>
              <a:gd name="connsiteY15" fmla="*/ 398536 h 684789"/>
              <a:gd name="connsiteX16" fmla="*/ 394452 w 657380"/>
              <a:gd name="connsiteY16" fmla="*/ 410763 h 684789"/>
              <a:gd name="connsiteX17" fmla="*/ 493035 w 657380"/>
              <a:gd name="connsiteY17" fmla="*/ 438272 h 684789"/>
              <a:gd name="connsiteX18" fmla="*/ 493035 w 657380"/>
              <a:gd name="connsiteY18" fmla="*/ 356099 h 684789"/>
              <a:gd name="connsiteX19" fmla="*/ 657380 w 657380"/>
              <a:gd name="connsiteY19" fmla="*/ 537091 h 684789"/>
              <a:gd name="connsiteX20" fmla="*/ 493035 w 657380"/>
              <a:gd name="connsiteY20" fmla="*/ 684789 h 684789"/>
              <a:gd name="connsiteX21" fmla="*/ 493035 w 657380"/>
              <a:gd name="connsiteY21" fmla="*/ 602617 h 684789"/>
              <a:gd name="connsiteX22" fmla="*/ 293551 w 657380"/>
              <a:gd name="connsiteY22" fmla="*/ 531710 h 684789"/>
              <a:gd name="connsiteX23" fmla="*/ 0 w 657380"/>
              <a:gd name="connsiteY23" fmla="*/ 95025 h 684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57380" h="684789">
                <a:moveTo>
                  <a:pt x="0" y="0"/>
                </a:moveTo>
                <a:lnTo>
                  <a:pt x="11037" y="3668"/>
                </a:lnTo>
                <a:lnTo>
                  <a:pt x="8532" y="11573"/>
                </a:lnTo>
                <a:lnTo>
                  <a:pt x="9280" y="18674"/>
                </a:lnTo>
                <a:lnTo>
                  <a:pt x="9281" y="18674"/>
                </a:lnTo>
                <a:lnTo>
                  <a:pt x="34683" y="97656"/>
                </a:lnTo>
                <a:lnTo>
                  <a:pt x="47126" y="122140"/>
                </a:lnTo>
                <a:lnTo>
                  <a:pt x="74579" y="171743"/>
                </a:lnTo>
                <a:lnTo>
                  <a:pt x="94082" y="198437"/>
                </a:lnTo>
                <a:lnTo>
                  <a:pt x="127971" y="239850"/>
                </a:lnTo>
                <a:lnTo>
                  <a:pt x="153059" y="265146"/>
                </a:lnTo>
                <a:lnTo>
                  <a:pt x="194020" y="300926"/>
                </a:lnTo>
                <a:lnTo>
                  <a:pt x="223423" y="323210"/>
                </a:lnTo>
                <a:lnTo>
                  <a:pt x="272343" y="354011"/>
                </a:lnTo>
                <a:lnTo>
                  <a:pt x="304229" y="372058"/>
                </a:lnTo>
                <a:lnTo>
                  <a:pt x="364466" y="398536"/>
                </a:lnTo>
                <a:lnTo>
                  <a:pt x="394452" y="410763"/>
                </a:lnTo>
                <a:lnTo>
                  <a:pt x="493035" y="438272"/>
                </a:lnTo>
                <a:lnTo>
                  <a:pt x="493035" y="356099"/>
                </a:lnTo>
                <a:lnTo>
                  <a:pt x="657380" y="537091"/>
                </a:lnTo>
                <a:lnTo>
                  <a:pt x="493035" y="684789"/>
                </a:lnTo>
                <a:lnTo>
                  <a:pt x="493035" y="602617"/>
                </a:lnTo>
                <a:cubicBezTo>
                  <a:pt x="420474" y="587676"/>
                  <a:pt x="353379" y="563422"/>
                  <a:pt x="293551" y="531710"/>
                </a:cubicBezTo>
                <a:cubicBezTo>
                  <a:pt x="114069" y="436573"/>
                  <a:pt x="0" y="274314"/>
                  <a:pt x="0" y="95025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sp>
        <p:nvSpPr>
          <p:cNvPr id="15" name="자유형: 도형 14">
            <a:extLst>
              <a:ext uri="{FF2B5EF4-FFF2-40B4-BE49-F238E27FC236}">
                <a16:creationId xmlns:a16="http://schemas.microsoft.com/office/drawing/2014/main" id="{0087FCFC-FD88-4E79-9EFB-6A9B9F937023}"/>
              </a:ext>
            </a:extLst>
          </p:cNvPr>
          <p:cNvSpPr/>
          <p:nvPr/>
        </p:nvSpPr>
        <p:spPr>
          <a:xfrm rot="425493">
            <a:off x="1428316" y="4190059"/>
            <a:ext cx="490737" cy="605398"/>
          </a:xfrm>
          <a:custGeom>
            <a:avLst/>
            <a:gdLst>
              <a:gd name="connsiteX0" fmla="*/ 0 w 657380"/>
              <a:gd name="connsiteY0" fmla="*/ 0 h 684789"/>
              <a:gd name="connsiteX1" fmla="*/ 11037 w 657380"/>
              <a:gd name="connsiteY1" fmla="*/ 3668 h 684789"/>
              <a:gd name="connsiteX2" fmla="*/ 8532 w 657380"/>
              <a:gd name="connsiteY2" fmla="*/ 11573 h 684789"/>
              <a:gd name="connsiteX3" fmla="*/ 9280 w 657380"/>
              <a:gd name="connsiteY3" fmla="*/ 18674 h 684789"/>
              <a:gd name="connsiteX4" fmla="*/ 9281 w 657380"/>
              <a:gd name="connsiteY4" fmla="*/ 18674 h 684789"/>
              <a:gd name="connsiteX5" fmla="*/ 34683 w 657380"/>
              <a:gd name="connsiteY5" fmla="*/ 97656 h 684789"/>
              <a:gd name="connsiteX6" fmla="*/ 47126 w 657380"/>
              <a:gd name="connsiteY6" fmla="*/ 122140 h 684789"/>
              <a:gd name="connsiteX7" fmla="*/ 74579 w 657380"/>
              <a:gd name="connsiteY7" fmla="*/ 171743 h 684789"/>
              <a:gd name="connsiteX8" fmla="*/ 94082 w 657380"/>
              <a:gd name="connsiteY8" fmla="*/ 198437 h 684789"/>
              <a:gd name="connsiteX9" fmla="*/ 127971 w 657380"/>
              <a:gd name="connsiteY9" fmla="*/ 239850 h 684789"/>
              <a:gd name="connsiteX10" fmla="*/ 153059 w 657380"/>
              <a:gd name="connsiteY10" fmla="*/ 265146 h 684789"/>
              <a:gd name="connsiteX11" fmla="*/ 194020 w 657380"/>
              <a:gd name="connsiteY11" fmla="*/ 300926 h 684789"/>
              <a:gd name="connsiteX12" fmla="*/ 223423 w 657380"/>
              <a:gd name="connsiteY12" fmla="*/ 323210 h 684789"/>
              <a:gd name="connsiteX13" fmla="*/ 272343 w 657380"/>
              <a:gd name="connsiteY13" fmla="*/ 354011 h 684789"/>
              <a:gd name="connsiteX14" fmla="*/ 304229 w 657380"/>
              <a:gd name="connsiteY14" fmla="*/ 372058 h 684789"/>
              <a:gd name="connsiteX15" fmla="*/ 364466 w 657380"/>
              <a:gd name="connsiteY15" fmla="*/ 398536 h 684789"/>
              <a:gd name="connsiteX16" fmla="*/ 394452 w 657380"/>
              <a:gd name="connsiteY16" fmla="*/ 410763 h 684789"/>
              <a:gd name="connsiteX17" fmla="*/ 493035 w 657380"/>
              <a:gd name="connsiteY17" fmla="*/ 438272 h 684789"/>
              <a:gd name="connsiteX18" fmla="*/ 493035 w 657380"/>
              <a:gd name="connsiteY18" fmla="*/ 356099 h 684789"/>
              <a:gd name="connsiteX19" fmla="*/ 657380 w 657380"/>
              <a:gd name="connsiteY19" fmla="*/ 537091 h 684789"/>
              <a:gd name="connsiteX20" fmla="*/ 493035 w 657380"/>
              <a:gd name="connsiteY20" fmla="*/ 684789 h 684789"/>
              <a:gd name="connsiteX21" fmla="*/ 493035 w 657380"/>
              <a:gd name="connsiteY21" fmla="*/ 602617 h 684789"/>
              <a:gd name="connsiteX22" fmla="*/ 293551 w 657380"/>
              <a:gd name="connsiteY22" fmla="*/ 531710 h 684789"/>
              <a:gd name="connsiteX23" fmla="*/ 0 w 657380"/>
              <a:gd name="connsiteY23" fmla="*/ 95025 h 684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57380" h="684789">
                <a:moveTo>
                  <a:pt x="0" y="0"/>
                </a:moveTo>
                <a:lnTo>
                  <a:pt x="11037" y="3668"/>
                </a:lnTo>
                <a:lnTo>
                  <a:pt x="8532" y="11573"/>
                </a:lnTo>
                <a:lnTo>
                  <a:pt x="9280" y="18674"/>
                </a:lnTo>
                <a:lnTo>
                  <a:pt x="9281" y="18674"/>
                </a:lnTo>
                <a:lnTo>
                  <a:pt x="34683" y="97656"/>
                </a:lnTo>
                <a:lnTo>
                  <a:pt x="47126" y="122140"/>
                </a:lnTo>
                <a:lnTo>
                  <a:pt x="74579" y="171743"/>
                </a:lnTo>
                <a:lnTo>
                  <a:pt x="94082" y="198437"/>
                </a:lnTo>
                <a:lnTo>
                  <a:pt x="127971" y="239850"/>
                </a:lnTo>
                <a:lnTo>
                  <a:pt x="153059" y="265146"/>
                </a:lnTo>
                <a:lnTo>
                  <a:pt x="194020" y="300926"/>
                </a:lnTo>
                <a:lnTo>
                  <a:pt x="223423" y="323210"/>
                </a:lnTo>
                <a:lnTo>
                  <a:pt x="272343" y="354011"/>
                </a:lnTo>
                <a:lnTo>
                  <a:pt x="304229" y="372058"/>
                </a:lnTo>
                <a:lnTo>
                  <a:pt x="364466" y="398536"/>
                </a:lnTo>
                <a:lnTo>
                  <a:pt x="394452" y="410763"/>
                </a:lnTo>
                <a:lnTo>
                  <a:pt x="493035" y="438272"/>
                </a:lnTo>
                <a:lnTo>
                  <a:pt x="493035" y="356099"/>
                </a:lnTo>
                <a:lnTo>
                  <a:pt x="657380" y="537091"/>
                </a:lnTo>
                <a:lnTo>
                  <a:pt x="493035" y="684789"/>
                </a:lnTo>
                <a:lnTo>
                  <a:pt x="493035" y="602617"/>
                </a:lnTo>
                <a:cubicBezTo>
                  <a:pt x="420474" y="587676"/>
                  <a:pt x="353379" y="563422"/>
                  <a:pt x="293551" y="531710"/>
                </a:cubicBezTo>
                <a:cubicBezTo>
                  <a:pt x="114069" y="436573"/>
                  <a:pt x="0" y="274314"/>
                  <a:pt x="0" y="95025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sp>
        <p:nvSpPr>
          <p:cNvPr id="16" name="타원 15">
            <a:extLst>
              <a:ext uri="{FF2B5EF4-FFF2-40B4-BE49-F238E27FC236}">
                <a16:creationId xmlns:a16="http://schemas.microsoft.com/office/drawing/2014/main" id="{83CE564B-7D38-488F-B217-ECBE8FD6ECDC}"/>
              </a:ext>
            </a:extLst>
          </p:cNvPr>
          <p:cNvSpPr/>
          <p:nvPr/>
        </p:nvSpPr>
        <p:spPr>
          <a:xfrm>
            <a:off x="185405" y="841028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17" name="타원 16">
            <a:extLst>
              <a:ext uri="{FF2B5EF4-FFF2-40B4-BE49-F238E27FC236}">
                <a16:creationId xmlns:a16="http://schemas.microsoft.com/office/drawing/2014/main" id="{DEC07D96-EC36-47E5-BABD-CD24A73E59FE}"/>
              </a:ext>
            </a:extLst>
          </p:cNvPr>
          <p:cNvSpPr/>
          <p:nvPr/>
        </p:nvSpPr>
        <p:spPr>
          <a:xfrm>
            <a:off x="3328655" y="2406364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18" name="타원 17">
            <a:extLst>
              <a:ext uri="{FF2B5EF4-FFF2-40B4-BE49-F238E27FC236}">
                <a16:creationId xmlns:a16="http://schemas.microsoft.com/office/drawing/2014/main" id="{1F890BC6-0B4A-4E97-8114-0269CD2E0FA9}"/>
              </a:ext>
            </a:extLst>
          </p:cNvPr>
          <p:cNvSpPr/>
          <p:nvPr/>
        </p:nvSpPr>
        <p:spPr>
          <a:xfrm>
            <a:off x="3381026" y="284452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19" name="타원 18">
            <a:extLst>
              <a:ext uri="{FF2B5EF4-FFF2-40B4-BE49-F238E27FC236}">
                <a16:creationId xmlns:a16="http://schemas.microsoft.com/office/drawing/2014/main" id="{22E27CDE-1B32-466B-8265-180B0517A8F0}"/>
              </a:ext>
            </a:extLst>
          </p:cNvPr>
          <p:cNvSpPr/>
          <p:nvPr/>
        </p:nvSpPr>
        <p:spPr>
          <a:xfrm>
            <a:off x="2164351" y="3757557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F12656A9-8C13-4421-982B-6E5895714B5D}"/>
              </a:ext>
            </a:extLst>
          </p:cNvPr>
          <p:cNvSpPr/>
          <p:nvPr/>
        </p:nvSpPr>
        <p:spPr>
          <a:xfrm>
            <a:off x="2129578" y="6034032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5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DD37CDD3-46B2-4F6C-9E51-402ADA00075A}"/>
              </a:ext>
            </a:extLst>
          </p:cNvPr>
          <p:cNvSpPr/>
          <p:nvPr/>
        </p:nvSpPr>
        <p:spPr>
          <a:xfrm>
            <a:off x="5143184" y="661091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6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FA77FF38-2D89-41B6-9BA1-FA7801F44F8A}"/>
              </a:ext>
            </a:extLst>
          </p:cNvPr>
          <p:cNvCxnSpPr>
            <a:cxnSpLocks/>
          </p:cNvCxnSpPr>
          <p:nvPr/>
        </p:nvCxnSpPr>
        <p:spPr>
          <a:xfrm>
            <a:off x="7636369" y="1831251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타원 22">
            <a:extLst>
              <a:ext uri="{FF2B5EF4-FFF2-40B4-BE49-F238E27FC236}">
                <a16:creationId xmlns:a16="http://schemas.microsoft.com/office/drawing/2014/main" id="{06DE6EFC-B7A5-48AF-9F80-31CCD54B65B5}"/>
              </a:ext>
            </a:extLst>
          </p:cNvPr>
          <p:cNvSpPr/>
          <p:nvPr/>
        </p:nvSpPr>
        <p:spPr>
          <a:xfrm>
            <a:off x="7699880" y="730105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24" name="직선 연결선 23">
            <a:extLst>
              <a:ext uri="{FF2B5EF4-FFF2-40B4-BE49-F238E27FC236}">
                <a16:creationId xmlns:a16="http://schemas.microsoft.com/office/drawing/2014/main" id="{01240DB9-255E-45D9-96B0-578C04FF388F}"/>
              </a:ext>
            </a:extLst>
          </p:cNvPr>
          <p:cNvCxnSpPr>
            <a:cxnSpLocks/>
          </p:cNvCxnSpPr>
          <p:nvPr/>
        </p:nvCxnSpPr>
        <p:spPr>
          <a:xfrm>
            <a:off x="7636369" y="2250351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직선 연결선 25">
            <a:extLst>
              <a:ext uri="{FF2B5EF4-FFF2-40B4-BE49-F238E27FC236}">
                <a16:creationId xmlns:a16="http://schemas.microsoft.com/office/drawing/2014/main" id="{D5FCDF90-CEAA-4374-A93E-70EF2F9EAAE2}"/>
              </a:ext>
            </a:extLst>
          </p:cNvPr>
          <p:cNvCxnSpPr>
            <a:cxnSpLocks/>
          </p:cNvCxnSpPr>
          <p:nvPr/>
        </p:nvCxnSpPr>
        <p:spPr>
          <a:xfrm>
            <a:off x="7636369" y="2960297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직선 연결선 26">
            <a:extLst>
              <a:ext uri="{FF2B5EF4-FFF2-40B4-BE49-F238E27FC236}">
                <a16:creationId xmlns:a16="http://schemas.microsoft.com/office/drawing/2014/main" id="{2ACD527D-E9E8-4FEC-9A61-8796292EF5B9}"/>
              </a:ext>
            </a:extLst>
          </p:cNvPr>
          <p:cNvCxnSpPr>
            <a:cxnSpLocks/>
          </p:cNvCxnSpPr>
          <p:nvPr/>
        </p:nvCxnSpPr>
        <p:spPr>
          <a:xfrm>
            <a:off x="7636369" y="3373289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A48AC906-E9A7-4A6C-BC05-12F85DD61FE8}"/>
              </a:ext>
            </a:extLst>
          </p:cNvPr>
          <p:cNvCxnSpPr>
            <a:cxnSpLocks/>
          </p:cNvCxnSpPr>
          <p:nvPr/>
        </p:nvCxnSpPr>
        <p:spPr>
          <a:xfrm>
            <a:off x="7636369" y="3825671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타원 28">
            <a:extLst>
              <a:ext uri="{FF2B5EF4-FFF2-40B4-BE49-F238E27FC236}">
                <a16:creationId xmlns:a16="http://schemas.microsoft.com/office/drawing/2014/main" id="{E27BBA7C-78D2-4FA0-AF54-BE23F1C7F193}"/>
              </a:ext>
            </a:extLst>
          </p:cNvPr>
          <p:cNvSpPr/>
          <p:nvPr/>
        </p:nvSpPr>
        <p:spPr>
          <a:xfrm>
            <a:off x="7692400" y="1889856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831A481C-8228-485E-A060-BF48CB1A3E9E}"/>
              </a:ext>
            </a:extLst>
          </p:cNvPr>
          <p:cNvSpPr/>
          <p:nvPr/>
        </p:nvSpPr>
        <p:spPr>
          <a:xfrm>
            <a:off x="7692400" y="2342237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023E517E-8A0E-4297-A4AA-CBD4E0B66FCA}"/>
              </a:ext>
            </a:extLst>
          </p:cNvPr>
          <p:cNvSpPr/>
          <p:nvPr/>
        </p:nvSpPr>
        <p:spPr>
          <a:xfrm>
            <a:off x="7692400" y="3859711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6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32" name="타원 31">
            <a:extLst>
              <a:ext uri="{FF2B5EF4-FFF2-40B4-BE49-F238E27FC236}">
                <a16:creationId xmlns:a16="http://schemas.microsoft.com/office/drawing/2014/main" id="{D1344152-5969-4B03-B8D1-DD1BF4805C43}"/>
              </a:ext>
            </a:extLst>
          </p:cNvPr>
          <p:cNvSpPr/>
          <p:nvPr/>
        </p:nvSpPr>
        <p:spPr>
          <a:xfrm>
            <a:off x="7692400" y="3407329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5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33" name="타원 32">
            <a:extLst>
              <a:ext uri="{FF2B5EF4-FFF2-40B4-BE49-F238E27FC236}">
                <a16:creationId xmlns:a16="http://schemas.microsoft.com/office/drawing/2014/main" id="{463CFD4C-DD2B-4605-90F4-530E1599E2B5}"/>
              </a:ext>
            </a:extLst>
          </p:cNvPr>
          <p:cNvSpPr/>
          <p:nvPr/>
        </p:nvSpPr>
        <p:spPr>
          <a:xfrm>
            <a:off x="7692400" y="3016437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57456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A52B8E3A-992C-43D5-BD36-5CC29CCB1B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161" y="1391379"/>
            <a:ext cx="7144893" cy="3970877"/>
          </a:xfrm>
          <a:prstGeom prst="rect">
            <a:avLst/>
          </a:prstGeom>
        </p:spPr>
      </p:pic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A2E573C3-2E07-46DC-A484-81B345FA4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3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48389E4-9BF2-437B-83E2-FE8E6CF2D9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6671" y="262717"/>
            <a:ext cx="1787875" cy="332486"/>
          </a:xfrm>
        </p:spPr>
        <p:txBody>
          <a:bodyPr/>
          <a:lstStyle/>
          <a:p>
            <a:r>
              <a:rPr lang="en-US" altLang="ko-KR" dirty="0"/>
              <a:t>GUIDE-</a:t>
            </a:r>
            <a:r>
              <a:rPr lang="en-US" altLang="ko-KR" dirty="0" err="1"/>
              <a:t>MYHOME</a:t>
            </a:r>
            <a:r>
              <a:rPr lang="en-US" altLang="ko-KR" dirty="0"/>
              <a:t>-03</a:t>
            </a:r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94AC05BA-9838-4A6E-9C97-DDDB7EFEA7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요청 내역</a:t>
            </a:r>
          </a:p>
        </p:txBody>
      </p:sp>
      <p:sp>
        <p:nvSpPr>
          <p:cNvPr id="45" name="텍스트 개체 틀 25">
            <a:extLst>
              <a:ext uri="{FF2B5EF4-FFF2-40B4-BE49-F238E27FC236}">
                <a16:creationId xmlns:a16="http://schemas.microsoft.com/office/drawing/2014/main" id="{D6608DD2-183F-4BB9-A9B4-10047D29D1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01463" y="671500"/>
            <a:ext cx="2371266" cy="6325146"/>
          </a:xfrm>
        </p:spPr>
        <p:txBody>
          <a:bodyPr/>
          <a:lstStyle/>
          <a:p>
            <a:pPr>
              <a:spcBef>
                <a:spcPts val="800"/>
              </a:spcBef>
            </a:pPr>
            <a:r>
              <a:rPr lang="ko-KR" altLang="en-US" dirty="0"/>
              <a:t>사용자가 요청한 목록 또는 사용자가 참조로 포함된 요청 목록이 보여집니다</a:t>
            </a:r>
            <a:r>
              <a:rPr lang="en-US" altLang="ko-KR" dirty="0"/>
              <a:t>.</a:t>
            </a:r>
          </a:p>
          <a:p>
            <a:pPr>
              <a:spcBef>
                <a:spcPts val="800"/>
              </a:spcBef>
            </a:pPr>
            <a:r>
              <a:rPr lang="ko-KR" altLang="en-US" dirty="0"/>
              <a:t>서비스 요청에 대한 제목</a:t>
            </a:r>
            <a:r>
              <a:rPr lang="en-US" altLang="ko-KR" dirty="0"/>
              <a:t> </a:t>
            </a:r>
            <a:r>
              <a:rPr lang="ko-KR" altLang="en-US" dirty="0"/>
              <a:t>등의 정보가 보여집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ko-KR" altLang="en-US" dirty="0"/>
              <a:t>제목</a:t>
            </a:r>
            <a:r>
              <a:rPr lang="en-US" altLang="ko-KR" dirty="0"/>
              <a:t>: </a:t>
            </a:r>
            <a:r>
              <a:rPr lang="ko-KR" altLang="en-US" dirty="0"/>
              <a:t>등록한 서비스 요청 제목</a:t>
            </a:r>
            <a:endParaRPr lang="en-US" altLang="ko-KR" dirty="0"/>
          </a:p>
          <a:p>
            <a:pPr marL="90488" indent="-9048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ko-KR" altLang="en-US" dirty="0"/>
              <a:t>요청 </a:t>
            </a:r>
            <a:r>
              <a:rPr lang="en-US" altLang="ko-KR" dirty="0"/>
              <a:t>ID: </a:t>
            </a:r>
            <a:r>
              <a:rPr lang="ko-KR" altLang="en-US" dirty="0"/>
              <a:t>시스템에 등록된 요청 아이디 </a:t>
            </a:r>
            <a:r>
              <a:rPr lang="en-US" altLang="ko-KR" dirty="0"/>
              <a:t>(=</a:t>
            </a:r>
            <a:r>
              <a:rPr lang="ko-KR" altLang="en-US" dirty="0"/>
              <a:t>티켓 아이디</a:t>
            </a:r>
            <a:r>
              <a:rPr lang="en-US" altLang="ko-KR" dirty="0"/>
              <a:t>)</a:t>
            </a:r>
          </a:p>
          <a:p>
            <a:pPr marL="90488" indent="-9048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ko-KR" altLang="en-US" dirty="0"/>
              <a:t>만든 시간</a:t>
            </a:r>
            <a:r>
              <a:rPr lang="en-US" altLang="ko-KR" dirty="0"/>
              <a:t>: </a:t>
            </a:r>
            <a:r>
              <a:rPr lang="ko-KR" altLang="en-US" dirty="0"/>
              <a:t>요청이 등록된 시간</a:t>
            </a:r>
            <a:endParaRPr lang="en-US" altLang="ko-KR" dirty="0"/>
          </a:p>
          <a:p>
            <a:pPr marL="90488" indent="-9048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ko-KR" altLang="en-US" dirty="0"/>
              <a:t>마지막 활동</a:t>
            </a:r>
            <a:r>
              <a:rPr lang="en-US" altLang="ko-KR" dirty="0"/>
              <a:t>: </a:t>
            </a:r>
            <a:r>
              <a:rPr lang="ko-KR" altLang="en-US" dirty="0"/>
              <a:t>요청에 대한 마지막 업데이트가 이루어진 시간</a:t>
            </a:r>
            <a:endParaRPr lang="en-US" altLang="ko-KR" dirty="0"/>
          </a:p>
          <a:p>
            <a:pPr marL="90488" indent="-9048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ko-KR" altLang="en-US" dirty="0"/>
              <a:t>상태</a:t>
            </a:r>
            <a:r>
              <a:rPr lang="en-US" altLang="ko-KR" dirty="0"/>
              <a:t>: </a:t>
            </a:r>
            <a:r>
              <a:rPr lang="ko-KR" altLang="en-US" dirty="0"/>
              <a:t>요청의 진행 상태</a:t>
            </a:r>
          </a:p>
        </p:txBody>
      </p:sp>
      <p:cxnSp>
        <p:nvCxnSpPr>
          <p:cNvPr id="47" name="직선 연결선 46">
            <a:extLst>
              <a:ext uri="{FF2B5EF4-FFF2-40B4-BE49-F238E27FC236}">
                <a16:creationId xmlns:a16="http://schemas.microsoft.com/office/drawing/2014/main" id="{C899F4C7-49EE-4B91-8165-E804D9A3F730}"/>
              </a:ext>
            </a:extLst>
          </p:cNvPr>
          <p:cNvCxnSpPr>
            <a:cxnSpLocks/>
          </p:cNvCxnSpPr>
          <p:nvPr/>
        </p:nvCxnSpPr>
        <p:spPr>
          <a:xfrm>
            <a:off x="7636369" y="1055071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타원 53">
            <a:extLst>
              <a:ext uri="{FF2B5EF4-FFF2-40B4-BE49-F238E27FC236}">
                <a16:creationId xmlns:a16="http://schemas.microsoft.com/office/drawing/2014/main" id="{FF870025-4A4D-4D3D-A9E2-775F6BDA6D25}"/>
              </a:ext>
            </a:extLst>
          </p:cNvPr>
          <p:cNvSpPr/>
          <p:nvPr/>
        </p:nvSpPr>
        <p:spPr>
          <a:xfrm>
            <a:off x="7699880" y="741166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55" name="타원 54">
            <a:extLst>
              <a:ext uri="{FF2B5EF4-FFF2-40B4-BE49-F238E27FC236}">
                <a16:creationId xmlns:a16="http://schemas.microsoft.com/office/drawing/2014/main" id="{0D6D04AC-78E8-40CB-971B-2D9280F889B1}"/>
              </a:ext>
            </a:extLst>
          </p:cNvPr>
          <p:cNvSpPr/>
          <p:nvPr/>
        </p:nvSpPr>
        <p:spPr>
          <a:xfrm>
            <a:off x="7704192" y="1139429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B6F732A7-3B85-416A-AA4D-CE7F83BAA1A6}"/>
              </a:ext>
            </a:extLst>
          </p:cNvPr>
          <p:cNvSpPr/>
          <p:nvPr/>
        </p:nvSpPr>
        <p:spPr>
          <a:xfrm>
            <a:off x="708800" y="2777397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31" name="사각형: 둥근 모서리 30">
            <a:extLst>
              <a:ext uri="{FF2B5EF4-FFF2-40B4-BE49-F238E27FC236}">
                <a16:creationId xmlns:a16="http://schemas.microsoft.com/office/drawing/2014/main" id="{9117F969-33F4-4FC7-8F3A-3BA234423C17}"/>
              </a:ext>
            </a:extLst>
          </p:cNvPr>
          <p:cNvSpPr/>
          <p:nvPr/>
        </p:nvSpPr>
        <p:spPr>
          <a:xfrm>
            <a:off x="809592" y="2216332"/>
            <a:ext cx="2084333" cy="416336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01EA6C94-86D8-4863-BA88-BDBE6EDEE910}"/>
              </a:ext>
            </a:extLst>
          </p:cNvPr>
          <p:cNvSpPr/>
          <p:nvPr/>
        </p:nvSpPr>
        <p:spPr>
          <a:xfrm>
            <a:off x="733076" y="2139816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5198DD1-E56C-4BC5-BEFD-E2909B9E2502}"/>
              </a:ext>
            </a:extLst>
          </p:cNvPr>
          <p:cNvSpPr txBox="1"/>
          <p:nvPr/>
        </p:nvSpPr>
        <p:spPr>
          <a:xfrm>
            <a:off x="128571" y="741166"/>
            <a:ext cx="7386921" cy="41274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내 활동 </a:t>
            </a:r>
            <a:r>
              <a:rPr lang="en-US" altLang="ko-KR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&gt; </a:t>
            </a:r>
            <a:r>
              <a:rPr lang="ko-KR" altLang="en-US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요청 내역에 사용자가 요청한 문의 목록이 보여집니다</a:t>
            </a:r>
            <a:r>
              <a:rPr lang="en-US" altLang="ko-KR" sz="18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</a:t>
            </a:r>
          </a:p>
        </p:txBody>
      </p:sp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994FD602-7FA8-49D9-8A5B-E6D54417D11A}"/>
              </a:ext>
            </a:extLst>
          </p:cNvPr>
          <p:cNvSpPr/>
          <p:nvPr/>
        </p:nvSpPr>
        <p:spPr>
          <a:xfrm>
            <a:off x="809591" y="2682910"/>
            <a:ext cx="6033336" cy="2755861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091927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0" name="Picture 2">
            <a:extLst>
              <a:ext uri="{FF2B5EF4-FFF2-40B4-BE49-F238E27FC236}">
                <a16:creationId xmlns:a16="http://schemas.microsoft.com/office/drawing/2014/main" id="{F9407A55-4492-4699-87BF-09604EFC98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24" t="4589" r="20164" b="956"/>
          <a:stretch/>
        </p:blipFill>
        <p:spPr bwMode="auto">
          <a:xfrm>
            <a:off x="401971" y="810837"/>
            <a:ext cx="6379829" cy="5489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A2E573C3-2E07-46DC-A484-81B345FA4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4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48389E4-9BF2-437B-83E2-FE8E6CF2D9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6671" y="262717"/>
            <a:ext cx="1787875" cy="332486"/>
          </a:xfrm>
        </p:spPr>
        <p:txBody>
          <a:bodyPr/>
          <a:lstStyle/>
          <a:p>
            <a:r>
              <a:rPr lang="en-US" altLang="ko-KR" dirty="0"/>
              <a:t>GUIDE-</a:t>
            </a:r>
            <a:r>
              <a:rPr lang="en-US" altLang="ko-KR" dirty="0" err="1"/>
              <a:t>MYHOME</a:t>
            </a:r>
            <a:r>
              <a:rPr lang="en-US" altLang="ko-KR" dirty="0"/>
              <a:t>-04</a:t>
            </a:r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94AC05BA-9838-4A6E-9C97-DDDB7EFEA7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요청내역 상세</a:t>
            </a:r>
          </a:p>
        </p:txBody>
      </p:sp>
      <p:sp>
        <p:nvSpPr>
          <p:cNvPr id="45" name="텍스트 개체 틀 25">
            <a:extLst>
              <a:ext uri="{FF2B5EF4-FFF2-40B4-BE49-F238E27FC236}">
                <a16:creationId xmlns:a16="http://schemas.microsoft.com/office/drawing/2014/main" id="{D6608DD2-183F-4BB9-A9B4-10047D29D1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26310" y="625303"/>
            <a:ext cx="2371266" cy="6325146"/>
          </a:xfrm>
        </p:spPr>
        <p:txBody>
          <a:bodyPr/>
          <a:lstStyle/>
          <a:p>
            <a:pPr>
              <a:spcBef>
                <a:spcPts val="800"/>
              </a:spcBef>
            </a:pPr>
            <a:r>
              <a:rPr lang="ko-KR" altLang="en-US" dirty="0"/>
              <a:t>사용자가 요청한 서비스 요청의 상세 내용이 보여집니다</a:t>
            </a:r>
            <a:r>
              <a:rPr lang="en-US" altLang="ko-KR" dirty="0"/>
              <a:t>.</a:t>
            </a:r>
          </a:p>
          <a:p>
            <a:pPr>
              <a:spcBef>
                <a:spcPts val="800"/>
              </a:spcBef>
            </a:pPr>
            <a:r>
              <a:rPr lang="ko-KR" altLang="en-US" dirty="0"/>
              <a:t>요청한 서비스에 대하여 사용자가 입력한 정보</a:t>
            </a:r>
            <a:r>
              <a:rPr lang="en-US" altLang="ko-KR" dirty="0"/>
              <a:t>, </a:t>
            </a:r>
            <a:r>
              <a:rPr lang="ko-KR" altLang="en-US" dirty="0"/>
              <a:t>처리자가 진행 또는 완료한 정보가 보여집니다</a:t>
            </a:r>
            <a:r>
              <a:rPr lang="en-US" altLang="ko-KR" dirty="0"/>
              <a:t>.</a:t>
            </a:r>
          </a:p>
        </p:txBody>
      </p:sp>
      <p:cxnSp>
        <p:nvCxnSpPr>
          <p:cNvPr id="47" name="직선 연결선 46">
            <a:extLst>
              <a:ext uri="{FF2B5EF4-FFF2-40B4-BE49-F238E27FC236}">
                <a16:creationId xmlns:a16="http://schemas.microsoft.com/office/drawing/2014/main" id="{C899F4C7-49EE-4B91-8165-E804D9A3F730}"/>
              </a:ext>
            </a:extLst>
          </p:cNvPr>
          <p:cNvCxnSpPr>
            <a:cxnSpLocks/>
          </p:cNvCxnSpPr>
          <p:nvPr/>
        </p:nvCxnSpPr>
        <p:spPr>
          <a:xfrm>
            <a:off x="7661216" y="987837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타원 53">
            <a:extLst>
              <a:ext uri="{FF2B5EF4-FFF2-40B4-BE49-F238E27FC236}">
                <a16:creationId xmlns:a16="http://schemas.microsoft.com/office/drawing/2014/main" id="{FF870025-4A4D-4D3D-A9E2-775F6BDA6D25}"/>
              </a:ext>
            </a:extLst>
          </p:cNvPr>
          <p:cNvSpPr/>
          <p:nvPr/>
        </p:nvSpPr>
        <p:spPr>
          <a:xfrm>
            <a:off x="7706612" y="735526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55" name="타원 54">
            <a:extLst>
              <a:ext uri="{FF2B5EF4-FFF2-40B4-BE49-F238E27FC236}">
                <a16:creationId xmlns:a16="http://schemas.microsoft.com/office/drawing/2014/main" id="{0D6D04AC-78E8-40CB-971B-2D9280F889B1}"/>
              </a:ext>
            </a:extLst>
          </p:cNvPr>
          <p:cNvSpPr/>
          <p:nvPr/>
        </p:nvSpPr>
        <p:spPr>
          <a:xfrm>
            <a:off x="7694820" y="1125149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B6F732A7-3B85-416A-AA4D-CE7F83BAA1A6}"/>
              </a:ext>
            </a:extLst>
          </p:cNvPr>
          <p:cNvSpPr/>
          <p:nvPr/>
        </p:nvSpPr>
        <p:spPr>
          <a:xfrm>
            <a:off x="935606" y="2865507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17" name="사각형: 둥근 모서리 16">
            <a:extLst>
              <a:ext uri="{FF2B5EF4-FFF2-40B4-BE49-F238E27FC236}">
                <a16:creationId xmlns:a16="http://schemas.microsoft.com/office/drawing/2014/main" id="{372F95D1-1407-4A4A-BF0A-C826910D7630}"/>
              </a:ext>
            </a:extLst>
          </p:cNvPr>
          <p:cNvSpPr/>
          <p:nvPr/>
        </p:nvSpPr>
        <p:spPr>
          <a:xfrm>
            <a:off x="1088638" y="2873191"/>
            <a:ext cx="3313684" cy="443728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사각형: 둥근 모서리 17">
            <a:extLst>
              <a:ext uri="{FF2B5EF4-FFF2-40B4-BE49-F238E27FC236}">
                <a16:creationId xmlns:a16="http://schemas.microsoft.com/office/drawing/2014/main" id="{7155F20A-BC09-482B-B4CA-AD2D5C1649C7}"/>
              </a:ext>
            </a:extLst>
          </p:cNvPr>
          <p:cNvSpPr/>
          <p:nvPr/>
        </p:nvSpPr>
        <p:spPr>
          <a:xfrm>
            <a:off x="4555354" y="2191264"/>
            <a:ext cx="1573598" cy="3888260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타원 18">
            <a:extLst>
              <a:ext uri="{FF2B5EF4-FFF2-40B4-BE49-F238E27FC236}">
                <a16:creationId xmlns:a16="http://schemas.microsoft.com/office/drawing/2014/main" id="{0607B207-E6A8-4ED4-BA60-CF01777FA3C5}"/>
              </a:ext>
            </a:extLst>
          </p:cNvPr>
          <p:cNvSpPr/>
          <p:nvPr/>
        </p:nvSpPr>
        <p:spPr>
          <a:xfrm>
            <a:off x="4478838" y="2114748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A3C0C1FC-10B9-4218-87F7-79FB0EC05641}"/>
              </a:ext>
            </a:extLst>
          </p:cNvPr>
          <p:cNvSpPr/>
          <p:nvPr/>
        </p:nvSpPr>
        <p:spPr>
          <a:xfrm>
            <a:off x="166671" y="3666009"/>
            <a:ext cx="7259061" cy="1347990"/>
          </a:xfrm>
          <a:prstGeom prst="rect">
            <a:avLst/>
          </a:prstGeom>
          <a:solidFill>
            <a:srgbClr val="FF0000">
              <a:alpha val="30000"/>
            </a:srgbClr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ko-KR" altLang="en-US" sz="4000" dirty="0">
                <a:solidFill>
                  <a:schemeClr val="bg1"/>
                </a:solidFill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rPr>
              <a:t>캡쳐 이미지 변경 필요</a:t>
            </a:r>
          </a:p>
        </p:txBody>
      </p:sp>
    </p:spTree>
    <p:extLst>
      <p:ext uri="{BB962C8B-B14F-4D97-AF65-F5344CB8AC3E}">
        <p14:creationId xmlns:p14="http://schemas.microsoft.com/office/powerpoint/2010/main" val="3555792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F258064C-11EF-49A4-B811-8CEAAFEF38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5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199910FF-37EF-4329-B8FD-8F6576CBF8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GUIDE-</a:t>
            </a:r>
            <a:r>
              <a:rPr lang="en-US" altLang="ko-KR" dirty="0" err="1"/>
              <a:t>MYHOME</a:t>
            </a:r>
            <a:r>
              <a:rPr lang="en-US" altLang="ko-KR" dirty="0"/>
              <a:t>-05</a:t>
            </a:r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C9C19C0D-CC59-474A-B5E9-F03807668E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 err="1"/>
              <a:t>북마크</a:t>
            </a:r>
            <a:r>
              <a:rPr lang="en-US" altLang="ko-KR" dirty="0"/>
              <a:t>(=</a:t>
            </a:r>
            <a:r>
              <a:rPr lang="ko-KR" altLang="en-US" dirty="0" err="1"/>
              <a:t>팔로잉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E8C541E4-FD63-4C71-907D-B88FC1F768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IT Helpdesk </a:t>
            </a:r>
            <a:r>
              <a:rPr lang="ko-KR" altLang="en-US" dirty="0"/>
              <a:t>우측 상단의 내 활동을 클릭하여 보여지는 하위 메뉴에서 </a:t>
            </a:r>
            <a:r>
              <a:rPr lang="ko-KR" altLang="en-US" dirty="0" err="1"/>
              <a:t>즐겨찾기를</a:t>
            </a:r>
            <a:r>
              <a:rPr lang="ko-KR" altLang="en-US" dirty="0"/>
              <a:t> 선택하면 </a:t>
            </a:r>
            <a:r>
              <a:rPr lang="en-US" altLang="ko-KR" dirty="0"/>
              <a:t>“</a:t>
            </a:r>
            <a:r>
              <a:rPr lang="ko-KR" altLang="en-US" dirty="0" err="1"/>
              <a:t>북마크</a:t>
            </a:r>
            <a:r>
              <a:rPr lang="ko-KR" altLang="en-US" dirty="0"/>
              <a:t>＂ 화면으로 이동됩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FAQ, </a:t>
            </a:r>
            <a:r>
              <a:rPr lang="ko-KR" altLang="en-US" dirty="0"/>
              <a:t>매뉴얼</a:t>
            </a:r>
            <a:r>
              <a:rPr lang="en-US" altLang="ko-KR" dirty="0"/>
              <a:t>, </a:t>
            </a:r>
            <a:r>
              <a:rPr lang="ko-KR" altLang="en-US" dirty="0"/>
              <a:t>다운로드 문서의 내용보기 화면에서 </a:t>
            </a:r>
            <a:r>
              <a:rPr lang="en-US" altLang="ko-KR" dirty="0"/>
              <a:t>“</a:t>
            </a:r>
            <a:r>
              <a:rPr lang="ko-KR" altLang="en-US" dirty="0" err="1"/>
              <a:t>팔로잉</a:t>
            </a:r>
            <a:r>
              <a:rPr lang="ko-KR" altLang="en-US" dirty="0"/>
              <a:t>＂ 버튼을 클릭하면 해당 문서는 사용자의 </a:t>
            </a:r>
            <a:r>
              <a:rPr lang="ko-KR" altLang="en-US" dirty="0" err="1"/>
              <a:t>즐겨찾는</a:t>
            </a:r>
            <a:r>
              <a:rPr lang="ko-KR" altLang="en-US" dirty="0"/>
              <a:t> 문서로 등록됩니다</a:t>
            </a:r>
            <a:r>
              <a:rPr lang="en-US" altLang="ko-KR" dirty="0"/>
              <a:t>. </a:t>
            </a:r>
            <a:r>
              <a:rPr lang="ko-KR" altLang="en-US" dirty="0" err="1"/>
              <a:t>즐겨찾는</a:t>
            </a:r>
            <a:r>
              <a:rPr lang="ko-KR" altLang="en-US" dirty="0"/>
              <a:t> 문서는 </a:t>
            </a:r>
            <a:r>
              <a:rPr lang="ko-KR" altLang="en-US" dirty="0" err="1"/>
              <a:t>팔로잉</a:t>
            </a:r>
            <a:r>
              <a:rPr lang="ko-KR" altLang="en-US" dirty="0"/>
              <a:t> 목록에 보여집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FAQ, </a:t>
            </a:r>
            <a:r>
              <a:rPr lang="ko-KR" altLang="en-US" dirty="0"/>
              <a:t>매뉴얼</a:t>
            </a:r>
            <a:r>
              <a:rPr lang="en-US" altLang="ko-KR" dirty="0"/>
              <a:t>, </a:t>
            </a:r>
            <a:r>
              <a:rPr lang="ko-KR" altLang="en-US" dirty="0"/>
              <a:t>다운로드 문서의 내용보기 화면에서 문서에 댓글을 등록하면 사용자의 기여 목록에 보여집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목록에서 제목을 클릭하면 문서의 내용보기 화면으로 이동됩니다</a:t>
            </a:r>
            <a:r>
              <a:rPr lang="en-US" altLang="ko-KR" dirty="0"/>
              <a:t>. (GUIDE-HOME-05 </a:t>
            </a:r>
            <a:r>
              <a:rPr lang="ko-KR" altLang="en-US" dirty="0"/>
              <a:t>참조</a:t>
            </a:r>
            <a:r>
              <a:rPr lang="en-US" altLang="ko-KR" dirty="0"/>
              <a:t>)</a:t>
            </a:r>
          </a:p>
          <a:p>
            <a:pPr>
              <a:spcBef>
                <a:spcPts val="200"/>
              </a:spcBef>
            </a:pPr>
            <a:r>
              <a:rPr lang="ko-KR" altLang="en-US" dirty="0"/>
              <a:t>문서의 내용보기 화면에서 </a:t>
            </a:r>
            <a:r>
              <a:rPr lang="ko-KR" altLang="en-US" dirty="0" err="1"/>
              <a:t>팔로잉</a:t>
            </a:r>
            <a:r>
              <a:rPr lang="ko-KR" altLang="en-US" dirty="0"/>
              <a:t> 선택 여부나 사용자가 남긴 댓글을 확인할 수 있습니다</a:t>
            </a:r>
            <a:r>
              <a:rPr lang="en-US" altLang="ko-KR" dirty="0"/>
              <a:t>.</a:t>
            </a:r>
          </a:p>
          <a:p>
            <a:pPr marL="92075" lvl="0" indent="-92075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altLang="ko-KR" dirty="0">
                <a:solidFill>
                  <a:prstClr val="black"/>
                </a:solidFill>
              </a:rPr>
              <a:t>[</a:t>
            </a:r>
            <a:r>
              <a:rPr lang="ko-KR" altLang="en-US" dirty="0" err="1">
                <a:solidFill>
                  <a:prstClr val="black"/>
                </a:solidFill>
              </a:rPr>
              <a:t>팔로우</a:t>
            </a:r>
            <a:r>
              <a:rPr lang="en-US" altLang="ko-KR" dirty="0">
                <a:solidFill>
                  <a:prstClr val="black"/>
                </a:solidFill>
              </a:rPr>
              <a:t>] </a:t>
            </a:r>
            <a:r>
              <a:rPr lang="ko-KR" altLang="en-US" dirty="0">
                <a:solidFill>
                  <a:prstClr val="black"/>
                </a:solidFill>
              </a:rPr>
              <a:t>버튼이 보여지만 사용자가 </a:t>
            </a:r>
            <a:r>
              <a:rPr lang="ko-KR" altLang="en-US" dirty="0" err="1">
                <a:solidFill>
                  <a:prstClr val="black"/>
                </a:solidFill>
              </a:rPr>
              <a:t>즐겨찾기</a:t>
            </a:r>
            <a:r>
              <a:rPr lang="ko-KR" altLang="en-US" dirty="0">
                <a:solidFill>
                  <a:prstClr val="black"/>
                </a:solidFill>
              </a:rPr>
              <a:t> 등록하기 전의 문서입니다</a:t>
            </a:r>
            <a:r>
              <a:rPr lang="en-US" altLang="ko-KR" dirty="0">
                <a:solidFill>
                  <a:prstClr val="black"/>
                </a:solidFill>
              </a:rPr>
              <a:t>.</a:t>
            </a:r>
          </a:p>
          <a:p>
            <a:pPr marL="92075" lvl="0" indent="-92075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altLang="ko-KR" dirty="0">
                <a:solidFill>
                  <a:prstClr val="black"/>
                </a:solidFill>
              </a:rPr>
              <a:t>[</a:t>
            </a:r>
            <a:r>
              <a:rPr lang="ko-KR" altLang="en-US" dirty="0" err="1">
                <a:solidFill>
                  <a:prstClr val="black"/>
                </a:solidFill>
              </a:rPr>
              <a:t>언팔로우</a:t>
            </a:r>
            <a:r>
              <a:rPr lang="en-US" altLang="ko-KR" dirty="0">
                <a:solidFill>
                  <a:prstClr val="black"/>
                </a:solidFill>
              </a:rPr>
              <a:t>] </a:t>
            </a:r>
            <a:r>
              <a:rPr lang="ko-KR" altLang="en-US" dirty="0">
                <a:solidFill>
                  <a:prstClr val="black"/>
                </a:solidFill>
              </a:rPr>
              <a:t>버튼이 보여지만 사용자가 </a:t>
            </a:r>
            <a:r>
              <a:rPr lang="ko-KR" altLang="en-US" dirty="0" err="1">
                <a:solidFill>
                  <a:prstClr val="black"/>
                </a:solidFill>
              </a:rPr>
              <a:t>즐겨찾기</a:t>
            </a:r>
            <a:r>
              <a:rPr lang="ko-KR" altLang="en-US" dirty="0">
                <a:solidFill>
                  <a:prstClr val="black"/>
                </a:solidFill>
              </a:rPr>
              <a:t> 등록한 문서입니다</a:t>
            </a:r>
            <a:r>
              <a:rPr lang="en-US" altLang="ko-KR" dirty="0">
                <a:solidFill>
                  <a:prstClr val="black"/>
                </a:solidFill>
              </a:rPr>
              <a:t>.</a:t>
            </a:r>
          </a:p>
          <a:p>
            <a:pPr lvl="0"/>
            <a:r>
              <a:rPr lang="en-US" altLang="ko-KR" dirty="0">
                <a:solidFill>
                  <a:prstClr val="black"/>
                </a:solidFill>
              </a:rPr>
              <a:t> 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5CC7EE28-965B-46C2-BE3E-D7B14E3EDE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260" y="3430974"/>
            <a:ext cx="6960870" cy="2301716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32F5FC75-2240-4961-8B4C-A7B28888EE5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8710"/>
          <a:stretch/>
        </p:blipFill>
        <p:spPr>
          <a:xfrm>
            <a:off x="348836" y="806622"/>
            <a:ext cx="6922294" cy="1822278"/>
          </a:xfrm>
          <a:prstGeom prst="rect">
            <a:avLst/>
          </a:prstGeom>
        </p:spPr>
      </p:pic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EA0F5C21-D4C0-4D86-AF4E-6F07B447093F}"/>
              </a:ext>
            </a:extLst>
          </p:cNvPr>
          <p:cNvSpPr/>
          <p:nvPr/>
        </p:nvSpPr>
        <p:spPr>
          <a:xfrm>
            <a:off x="6522244" y="1073479"/>
            <a:ext cx="667145" cy="807161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자유형: 도형 8">
            <a:extLst>
              <a:ext uri="{FF2B5EF4-FFF2-40B4-BE49-F238E27FC236}">
                <a16:creationId xmlns:a16="http://schemas.microsoft.com/office/drawing/2014/main" id="{C32658CF-3DA8-422D-ACF0-2A552E0FF0A2}"/>
              </a:ext>
            </a:extLst>
          </p:cNvPr>
          <p:cNvSpPr/>
          <p:nvPr/>
        </p:nvSpPr>
        <p:spPr>
          <a:xfrm rot="20027414" flipH="1">
            <a:off x="6144021" y="2035133"/>
            <a:ext cx="981475" cy="1210797"/>
          </a:xfrm>
          <a:custGeom>
            <a:avLst/>
            <a:gdLst>
              <a:gd name="connsiteX0" fmla="*/ 0 w 657380"/>
              <a:gd name="connsiteY0" fmla="*/ 0 h 684789"/>
              <a:gd name="connsiteX1" fmla="*/ 11037 w 657380"/>
              <a:gd name="connsiteY1" fmla="*/ 3668 h 684789"/>
              <a:gd name="connsiteX2" fmla="*/ 8532 w 657380"/>
              <a:gd name="connsiteY2" fmla="*/ 11573 h 684789"/>
              <a:gd name="connsiteX3" fmla="*/ 9280 w 657380"/>
              <a:gd name="connsiteY3" fmla="*/ 18674 h 684789"/>
              <a:gd name="connsiteX4" fmla="*/ 9281 w 657380"/>
              <a:gd name="connsiteY4" fmla="*/ 18674 h 684789"/>
              <a:gd name="connsiteX5" fmla="*/ 34683 w 657380"/>
              <a:gd name="connsiteY5" fmla="*/ 97656 h 684789"/>
              <a:gd name="connsiteX6" fmla="*/ 47126 w 657380"/>
              <a:gd name="connsiteY6" fmla="*/ 122140 h 684789"/>
              <a:gd name="connsiteX7" fmla="*/ 74579 w 657380"/>
              <a:gd name="connsiteY7" fmla="*/ 171743 h 684789"/>
              <a:gd name="connsiteX8" fmla="*/ 94082 w 657380"/>
              <a:gd name="connsiteY8" fmla="*/ 198437 h 684789"/>
              <a:gd name="connsiteX9" fmla="*/ 127971 w 657380"/>
              <a:gd name="connsiteY9" fmla="*/ 239850 h 684789"/>
              <a:gd name="connsiteX10" fmla="*/ 153059 w 657380"/>
              <a:gd name="connsiteY10" fmla="*/ 265146 h 684789"/>
              <a:gd name="connsiteX11" fmla="*/ 194020 w 657380"/>
              <a:gd name="connsiteY11" fmla="*/ 300926 h 684789"/>
              <a:gd name="connsiteX12" fmla="*/ 223423 w 657380"/>
              <a:gd name="connsiteY12" fmla="*/ 323210 h 684789"/>
              <a:gd name="connsiteX13" fmla="*/ 272343 w 657380"/>
              <a:gd name="connsiteY13" fmla="*/ 354011 h 684789"/>
              <a:gd name="connsiteX14" fmla="*/ 304229 w 657380"/>
              <a:gd name="connsiteY14" fmla="*/ 372058 h 684789"/>
              <a:gd name="connsiteX15" fmla="*/ 364466 w 657380"/>
              <a:gd name="connsiteY15" fmla="*/ 398536 h 684789"/>
              <a:gd name="connsiteX16" fmla="*/ 394452 w 657380"/>
              <a:gd name="connsiteY16" fmla="*/ 410763 h 684789"/>
              <a:gd name="connsiteX17" fmla="*/ 493035 w 657380"/>
              <a:gd name="connsiteY17" fmla="*/ 438272 h 684789"/>
              <a:gd name="connsiteX18" fmla="*/ 493035 w 657380"/>
              <a:gd name="connsiteY18" fmla="*/ 356099 h 684789"/>
              <a:gd name="connsiteX19" fmla="*/ 657380 w 657380"/>
              <a:gd name="connsiteY19" fmla="*/ 537091 h 684789"/>
              <a:gd name="connsiteX20" fmla="*/ 493035 w 657380"/>
              <a:gd name="connsiteY20" fmla="*/ 684789 h 684789"/>
              <a:gd name="connsiteX21" fmla="*/ 493035 w 657380"/>
              <a:gd name="connsiteY21" fmla="*/ 602617 h 684789"/>
              <a:gd name="connsiteX22" fmla="*/ 293551 w 657380"/>
              <a:gd name="connsiteY22" fmla="*/ 531710 h 684789"/>
              <a:gd name="connsiteX23" fmla="*/ 0 w 657380"/>
              <a:gd name="connsiteY23" fmla="*/ 95025 h 684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57380" h="684789">
                <a:moveTo>
                  <a:pt x="0" y="0"/>
                </a:moveTo>
                <a:lnTo>
                  <a:pt x="11037" y="3668"/>
                </a:lnTo>
                <a:lnTo>
                  <a:pt x="8532" y="11573"/>
                </a:lnTo>
                <a:lnTo>
                  <a:pt x="9280" y="18674"/>
                </a:lnTo>
                <a:lnTo>
                  <a:pt x="9281" y="18674"/>
                </a:lnTo>
                <a:lnTo>
                  <a:pt x="34683" y="97656"/>
                </a:lnTo>
                <a:lnTo>
                  <a:pt x="47126" y="122140"/>
                </a:lnTo>
                <a:lnTo>
                  <a:pt x="74579" y="171743"/>
                </a:lnTo>
                <a:lnTo>
                  <a:pt x="94082" y="198437"/>
                </a:lnTo>
                <a:lnTo>
                  <a:pt x="127971" y="239850"/>
                </a:lnTo>
                <a:lnTo>
                  <a:pt x="153059" y="265146"/>
                </a:lnTo>
                <a:lnTo>
                  <a:pt x="194020" y="300926"/>
                </a:lnTo>
                <a:lnTo>
                  <a:pt x="223423" y="323210"/>
                </a:lnTo>
                <a:lnTo>
                  <a:pt x="272343" y="354011"/>
                </a:lnTo>
                <a:lnTo>
                  <a:pt x="304229" y="372058"/>
                </a:lnTo>
                <a:lnTo>
                  <a:pt x="364466" y="398536"/>
                </a:lnTo>
                <a:lnTo>
                  <a:pt x="394452" y="410763"/>
                </a:lnTo>
                <a:lnTo>
                  <a:pt x="493035" y="438272"/>
                </a:lnTo>
                <a:lnTo>
                  <a:pt x="493035" y="356099"/>
                </a:lnTo>
                <a:lnTo>
                  <a:pt x="657380" y="537091"/>
                </a:lnTo>
                <a:lnTo>
                  <a:pt x="493035" y="684789"/>
                </a:lnTo>
                <a:lnTo>
                  <a:pt x="493035" y="602617"/>
                </a:lnTo>
                <a:cubicBezTo>
                  <a:pt x="420474" y="587676"/>
                  <a:pt x="353379" y="563422"/>
                  <a:pt x="293551" y="531710"/>
                </a:cubicBezTo>
                <a:cubicBezTo>
                  <a:pt x="114069" y="436573"/>
                  <a:pt x="0" y="274314"/>
                  <a:pt x="0" y="95025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accent6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3A7B943C-543F-4F3A-9AC4-370508DB542C}"/>
              </a:ext>
            </a:extLst>
          </p:cNvPr>
          <p:cNvSpPr/>
          <p:nvPr/>
        </p:nvSpPr>
        <p:spPr>
          <a:xfrm>
            <a:off x="6481727" y="996963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27B3FBC8-4FFA-4C9C-A6DF-46D4B419C8A2}"/>
              </a:ext>
            </a:extLst>
          </p:cNvPr>
          <p:cNvSpPr/>
          <p:nvPr/>
        </p:nvSpPr>
        <p:spPr>
          <a:xfrm>
            <a:off x="1031250" y="4356806"/>
            <a:ext cx="425170" cy="255370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A2B86A09-E992-433B-A7DE-3B4D027C81A8}"/>
              </a:ext>
            </a:extLst>
          </p:cNvPr>
          <p:cNvSpPr/>
          <p:nvPr/>
        </p:nvSpPr>
        <p:spPr>
          <a:xfrm>
            <a:off x="1539451" y="4356806"/>
            <a:ext cx="425170" cy="255370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타원 14">
            <a:extLst>
              <a:ext uri="{FF2B5EF4-FFF2-40B4-BE49-F238E27FC236}">
                <a16:creationId xmlns:a16="http://schemas.microsoft.com/office/drawing/2014/main" id="{0CA5BFED-45A4-422E-BAED-0D58FD06EAE6}"/>
              </a:ext>
            </a:extLst>
          </p:cNvPr>
          <p:cNvSpPr/>
          <p:nvPr/>
        </p:nvSpPr>
        <p:spPr>
          <a:xfrm>
            <a:off x="883444" y="4286998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16" name="타원 15">
            <a:extLst>
              <a:ext uri="{FF2B5EF4-FFF2-40B4-BE49-F238E27FC236}">
                <a16:creationId xmlns:a16="http://schemas.microsoft.com/office/drawing/2014/main" id="{F4939BA4-76C6-45B4-8B06-1C80D419C81C}"/>
              </a:ext>
            </a:extLst>
          </p:cNvPr>
          <p:cNvSpPr/>
          <p:nvPr/>
        </p:nvSpPr>
        <p:spPr>
          <a:xfrm>
            <a:off x="1559001" y="4291285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5E69E214-FE27-43D0-B567-0702152BFB48}"/>
              </a:ext>
            </a:extLst>
          </p:cNvPr>
          <p:cNvCxnSpPr>
            <a:cxnSpLocks/>
          </p:cNvCxnSpPr>
          <p:nvPr/>
        </p:nvCxnSpPr>
        <p:spPr>
          <a:xfrm>
            <a:off x="7636369" y="1216621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직선 연결선 17">
            <a:extLst>
              <a:ext uri="{FF2B5EF4-FFF2-40B4-BE49-F238E27FC236}">
                <a16:creationId xmlns:a16="http://schemas.microsoft.com/office/drawing/2014/main" id="{FE2293CB-4D94-4135-A368-421DBCAFE28F}"/>
              </a:ext>
            </a:extLst>
          </p:cNvPr>
          <p:cNvCxnSpPr>
            <a:cxnSpLocks/>
          </p:cNvCxnSpPr>
          <p:nvPr/>
        </p:nvCxnSpPr>
        <p:spPr>
          <a:xfrm>
            <a:off x="7636369" y="1910041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타원 18">
            <a:extLst>
              <a:ext uri="{FF2B5EF4-FFF2-40B4-BE49-F238E27FC236}">
                <a16:creationId xmlns:a16="http://schemas.microsoft.com/office/drawing/2014/main" id="{CBFECA72-0AC7-44FB-A1A7-2C991B940FD7}"/>
              </a:ext>
            </a:extLst>
          </p:cNvPr>
          <p:cNvSpPr/>
          <p:nvPr/>
        </p:nvSpPr>
        <p:spPr>
          <a:xfrm>
            <a:off x="7692400" y="1275226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0A34BC9C-D7EF-457C-A943-F808782CA510}"/>
              </a:ext>
            </a:extLst>
          </p:cNvPr>
          <p:cNvSpPr/>
          <p:nvPr/>
        </p:nvSpPr>
        <p:spPr>
          <a:xfrm>
            <a:off x="7692400" y="2001927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DC17A150-3C60-494A-934B-630F1E0F5C6D}"/>
              </a:ext>
            </a:extLst>
          </p:cNvPr>
          <p:cNvSpPr/>
          <p:nvPr/>
        </p:nvSpPr>
        <p:spPr>
          <a:xfrm>
            <a:off x="7676665" y="676364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24" name="사각형: 둥근 모서리 23">
            <a:extLst>
              <a:ext uri="{FF2B5EF4-FFF2-40B4-BE49-F238E27FC236}">
                <a16:creationId xmlns:a16="http://schemas.microsoft.com/office/drawing/2014/main" id="{EFD00D9A-1D61-488B-92EE-9F2F34B684F5}"/>
              </a:ext>
            </a:extLst>
          </p:cNvPr>
          <p:cNvSpPr/>
          <p:nvPr/>
        </p:nvSpPr>
        <p:spPr>
          <a:xfrm>
            <a:off x="883444" y="4775630"/>
            <a:ext cx="6387686" cy="957060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D3A7B76D-053A-4265-94EF-E884A81D3099}"/>
              </a:ext>
            </a:extLst>
          </p:cNvPr>
          <p:cNvSpPr/>
          <p:nvPr/>
        </p:nvSpPr>
        <p:spPr>
          <a:xfrm>
            <a:off x="806928" y="4699114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26" name="직선 연결선 25">
            <a:extLst>
              <a:ext uri="{FF2B5EF4-FFF2-40B4-BE49-F238E27FC236}">
                <a16:creationId xmlns:a16="http://schemas.microsoft.com/office/drawing/2014/main" id="{77B0F17D-E1C7-4D3A-A453-E1D99F7A17C9}"/>
              </a:ext>
            </a:extLst>
          </p:cNvPr>
          <p:cNvCxnSpPr>
            <a:cxnSpLocks/>
          </p:cNvCxnSpPr>
          <p:nvPr/>
        </p:nvCxnSpPr>
        <p:spPr>
          <a:xfrm>
            <a:off x="7636369" y="2483674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타원 26">
            <a:extLst>
              <a:ext uri="{FF2B5EF4-FFF2-40B4-BE49-F238E27FC236}">
                <a16:creationId xmlns:a16="http://schemas.microsoft.com/office/drawing/2014/main" id="{CE497E31-E709-4995-B5E3-7BC2B4A30FAD}"/>
              </a:ext>
            </a:extLst>
          </p:cNvPr>
          <p:cNvSpPr/>
          <p:nvPr/>
        </p:nvSpPr>
        <p:spPr>
          <a:xfrm>
            <a:off x="7692400" y="257556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08401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13F110F7-BC0E-4AB9-8423-B34824608B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제목 4">
            <a:extLst>
              <a:ext uri="{FF2B5EF4-FFF2-40B4-BE49-F238E27FC236}">
                <a16:creationId xmlns:a16="http://schemas.microsoft.com/office/drawing/2014/main" id="{91D2754A-CCF7-42AA-9827-E85E7E1F9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목차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2A1CA34-E4CD-4564-B652-9DAA87C12FE9}"/>
              </a:ext>
            </a:extLst>
          </p:cNvPr>
          <p:cNvSpPr txBox="1"/>
          <p:nvPr/>
        </p:nvSpPr>
        <p:spPr>
          <a:xfrm>
            <a:off x="1856104" y="1057275"/>
            <a:ext cx="5550535" cy="390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HOME (HOME-01 ~ 05)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통합 검색 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SEARCH-01, 02)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서비스 요청 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REQUEST-01 ~ 09)</a:t>
            </a:r>
          </a:p>
          <a:p>
            <a:pPr marL="630238" lvl="1" indent="-366713">
              <a:lnSpc>
                <a:spcPct val="200000"/>
              </a:lnSpc>
              <a:buFont typeface="+mj-ea"/>
              <a:buAutoNum type="circleNumDbPlain"/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일반 문의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630238" lvl="1" indent="-366713">
              <a:lnSpc>
                <a:spcPct val="200000"/>
              </a:lnSpc>
              <a:buFont typeface="+mj-ea"/>
              <a:buAutoNum type="circleNumDbPlain"/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발 요청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630238" lvl="1" indent="-366713">
              <a:lnSpc>
                <a:spcPct val="200000"/>
              </a:lnSpc>
              <a:buFont typeface="+mj-ea"/>
              <a:buAutoNum type="circleNumDbPlain"/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데이터 요청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630238" lvl="1" indent="-366713">
              <a:lnSpc>
                <a:spcPct val="200000"/>
              </a:lnSpc>
              <a:buFont typeface="+mj-ea"/>
              <a:buAutoNum type="circleNumDbPlain"/>
            </a:pP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IT 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기기신청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630238" lvl="1" indent="-366713">
              <a:lnSpc>
                <a:spcPct val="200000"/>
              </a:lnSpc>
              <a:buFont typeface="+mj-ea"/>
              <a:buAutoNum type="circleNumDbPlain"/>
            </a:pP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네트워크 요청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630238" lvl="1" indent="-366713">
              <a:lnSpc>
                <a:spcPct val="200000"/>
              </a:lnSpc>
              <a:buFont typeface="+mj-ea"/>
              <a:buAutoNum type="circleNumDbPlain"/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장애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640CF8-306D-478E-B53B-61E13C0F2FD3}"/>
              </a:ext>
            </a:extLst>
          </p:cNvPr>
          <p:cNvSpPr txBox="1"/>
          <p:nvPr/>
        </p:nvSpPr>
        <p:spPr>
          <a:xfrm>
            <a:off x="5960745" y="1919049"/>
            <a:ext cx="3041016" cy="2178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200000"/>
              </a:lnSpc>
              <a:buFont typeface="+mj-lt"/>
              <a:buAutoNum type="arabicPeriod" startAt="4"/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내 프로필 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en-US" altLang="ko-KR" sz="1400" b="1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MYHOME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-01 ~ 05)</a:t>
            </a:r>
          </a:p>
          <a:p>
            <a:pPr marL="630238" lvl="1" indent="-366713">
              <a:lnSpc>
                <a:spcPct val="200000"/>
              </a:lnSpc>
              <a:buFont typeface="+mj-ea"/>
              <a:buAutoNum type="circleNumDbPlain"/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프로필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630238" lvl="1" indent="-366713">
              <a:lnSpc>
                <a:spcPct val="200000"/>
              </a:lnSpc>
              <a:buFont typeface="+mj-ea"/>
              <a:buAutoNum type="circleNumDbPlain"/>
            </a:pPr>
            <a:r>
              <a:rPr lang="ko-KR" altLang="en-US" sz="1400" b="1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즐겨찾는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서비스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630238" lvl="1" indent="-366713">
              <a:lnSpc>
                <a:spcPct val="200000"/>
              </a:lnSpc>
              <a:buFont typeface="+mj-ea"/>
              <a:buAutoNum type="circleNumDbPlain"/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요청 내역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630238" lvl="1" indent="-366713">
              <a:lnSpc>
                <a:spcPct val="200000"/>
              </a:lnSpc>
              <a:buFont typeface="+mj-ea"/>
              <a:buAutoNum type="circleNumDbPlain"/>
            </a:pPr>
            <a:r>
              <a:rPr lang="ko-KR" altLang="en-US" sz="1400" b="1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북마크</a:t>
            </a:r>
            <a:endParaRPr lang="ko-KR" altLang="en-US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335427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C3B6E98F-803A-4B81-B654-5541325047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E9D2595C-FCB5-45CA-9986-BB0B6C36F5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용어 이해</a:t>
            </a:r>
          </a:p>
        </p:txBody>
      </p:sp>
      <p:graphicFrame>
        <p:nvGraphicFramePr>
          <p:cNvPr id="5" name="표 4">
            <a:extLst>
              <a:ext uri="{FF2B5EF4-FFF2-40B4-BE49-F238E27FC236}">
                <a16:creationId xmlns:a16="http://schemas.microsoft.com/office/drawing/2014/main" id="{1CC90197-EFDA-4B59-BD79-A529D90F01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749769"/>
              </p:ext>
            </p:extLst>
          </p:nvPr>
        </p:nvGraphicFramePr>
        <p:xfrm>
          <a:off x="313034" y="735389"/>
          <a:ext cx="9855898" cy="4927600"/>
        </p:xfrm>
        <a:graphic>
          <a:graphicData uri="http://schemas.openxmlformats.org/drawingml/2006/table">
            <a:tbl>
              <a:tblPr>
                <a:tableStyleId>{60A59446-8F78-4DC5-A605-F528D7DF9056}</a:tableStyleId>
              </a:tblPr>
              <a:tblGrid>
                <a:gridCol w="1706685">
                  <a:extLst>
                    <a:ext uri="{9D8B030D-6E8A-4147-A177-3AD203B41FA5}">
                      <a16:colId xmlns:a16="http://schemas.microsoft.com/office/drawing/2014/main" val="552591128"/>
                    </a:ext>
                  </a:extLst>
                </a:gridCol>
                <a:gridCol w="5506497">
                  <a:extLst>
                    <a:ext uri="{9D8B030D-6E8A-4147-A177-3AD203B41FA5}">
                      <a16:colId xmlns:a16="http://schemas.microsoft.com/office/drawing/2014/main" val="1290822994"/>
                    </a:ext>
                  </a:extLst>
                </a:gridCol>
                <a:gridCol w="2642716">
                  <a:extLst>
                    <a:ext uri="{9D8B030D-6E8A-4147-A177-3AD203B41FA5}">
                      <a16:colId xmlns:a16="http://schemas.microsoft.com/office/drawing/2014/main" val="20315171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용어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의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예시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14502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요청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(=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티켓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사용자가 문의를 작성하여 제출한 내용을 요청이라고 합니다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IT Helpdesk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에서 </a:t>
                      </a:r>
                      <a:r>
                        <a:rPr lang="ko-KR" altLang="en-US" sz="1400" dirty="0">
                          <a:solidFill>
                            <a:srgbClr val="FF0000"/>
                          </a:solidFill>
                        </a:rPr>
                        <a:t>요청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 또는 </a:t>
                      </a:r>
                      <a:r>
                        <a:rPr lang="ko-KR" altLang="en-US" sz="1400" dirty="0">
                          <a:solidFill>
                            <a:srgbClr val="FF0000"/>
                          </a:solidFill>
                        </a:rPr>
                        <a:t>티켓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이라고 표현합니다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일반 문의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개발 요청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49283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카테고리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(=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섹션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FAQ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매뉴얼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다운로드 메뉴를 선택해서 보여지는 화면에서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,</a:t>
                      </a:r>
                    </a:p>
                    <a:p>
                      <a:pPr algn="ctr" latinLnBrk="1"/>
                      <a:r>
                        <a:rPr lang="ko-KR" altLang="en-US" sz="1400" dirty="0" err="1">
                          <a:solidFill>
                            <a:schemeClr val="tx1"/>
                          </a:solidFill>
                        </a:rPr>
                        <a:t>그룹핑된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 제목이 카테고리입니다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IT Helpdesk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에서 </a:t>
                      </a:r>
                      <a:r>
                        <a:rPr lang="ko-KR" altLang="en-US" sz="1400" dirty="0">
                          <a:solidFill>
                            <a:srgbClr val="FF0000"/>
                          </a:solidFill>
                        </a:rPr>
                        <a:t>카테고리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를 </a:t>
                      </a:r>
                      <a:r>
                        <a:rPr lang="ko-KR" altLang="en-US" sz="1400" dirty="0">
                          <a:solidFill>
                            <a:srgbClr val="FF0000"/>
                          </a:solidFill>
                        </a:rPr>
                        <a:t>섹션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이라고 표현합니다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FAQ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계정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기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58674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문서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사용자가 참조할 수 있도록 준비된 컨텐츠를 문서라고 표현합니다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FAQ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내의 컨텐츠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6422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이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사용자가 요청한 내용에 대하여 실제 수행 부서에서 처리할 수 있도록 요청 내용을 전달하는 것을 이관이라고 표현합니다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IT Helpdesk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에서는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Jira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서비스로 요청을 이관하여 처리할 수 있습니다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Jira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이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5774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Workflow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개발 요청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데이터 추출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수정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, IT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기기신청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네트워크 요청에서 결재자를 지정하여 처리하는 것을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Workflow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라고 합니다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AP-ON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결재와 다른 서비스 시스템입니다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개발 요청의 결재자 지정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61681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err="1">
                          <a:solidFill>
                            <a:schemeClr val="tx1"/>
                          </a:solidFill>
                        </a:rPr>
                        <a:t>북마크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(=</a:t>
                      </a:r>
                      <a:r>
                        <a:rPr lang="ko-KR" altLang="en-US" sz="1400" dirty="0" err="1">
                          <a:solidFill>
                            <a:schemeClr val="tx1"/>
                          </a:solidFill>
                        </a:rPr>
                        <a:t>팔로잉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FAQ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 문서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매뉴얼 문서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다운로드 파일에 대해 사용자가 </a:t>
                      </a:r>
                      <a:r>
                        <a:rPr lang="ko-KR" altLang="en-US" sz="1400" dirty="0" err="1">
                          <a:solidFill>
                            <a:schemeClr val="tx1"/>
                          </a:solidFill>
                        </a:rPr>
                        <a:t>즐겨찾기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 처리하는 것을 </a:t>
                      </a:r>
                      <a:r>
                        <a:rPr lang="ko-KR" altLang="en-US" sz="1400" dirty="0" err="1">
                          <a:solidFill>
                            <a:schemeClr val="tx1"/>
                          </a:solidFill>
                        </a:rPr>
                        <a:t>북마크라고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 합니다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IT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Helpdesk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에서는 </a:t>
                      </a:r>
                      <a:r>
                        <a:rPr lang="ko-KR" altLang="en-US" sz="1400" dirty="0" err="1">
                          <a:solidFill>
                            <a:srgbClr val="FF0000"/>
                          </a:solidFill>
                        </a:rPr>
                        <a:t>북마크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 또는 </a:t>
                      </a:r>
                      <a:r>
                        <a:rPr lang="ko-KR" altLang="en-US" sz="1400" dirty="0" err="1">
                          <a:solidFill>
                            <a:srgbClr val="FF0000"/>
                          </a:solidFill>
                        </a:rPr>
                        <a:t>팔로잉</a:t>
                      </a:r>
                      <a:r>
                        <a:rPr lang="ko-KR" altLang="en-US" sz="1400" dirty="0" err="1">
                          <a:solidFill>
                            <a:schemeClr val="tx1"/>
                          </a:solidFill>
                        </a:rPr>
                        <a:t>이라고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 표현합니다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내 프로필의 </a:t>
                      </a:r>
                      <a:r>
                        <a:rPr lang="ko-KR" altLang="en-US" sz="1400" dirty="0" err="1">
                          <a:solidFill>
                            <a:schemeClr val="tx1"/>
                          </a:solidFill>
                        </a:rPr>
                        <a:t>북마크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4799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해당 화면에서 중요하게 설명하는 내용입니다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43816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</a:rPr>
                        <a:t>해당 화면에서 부가적으로 설명하는 내용입니다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3527886"/>
                  </a:ext>
                </a:extLst>
              </a:tr>
            </a:tbl>
          </a:graphicData>
        </a:graphic>
      </p:graphicFrame>
      <p:sp>
        <p:nvSpPr>
          <p:cNvPr id="6" name="타원 5">
            <a:extLst>
              <a:ext uri="{FF2B5EF4-FFF2-40B4-BE49-F238E27FC236}">
                <a16:creationId xmlns:a16="http://schemas.microsoft.com/office/drawing/2014/main" id="{8A87F81C-17BE-4677-8168-99A45C4D1631}"/>
              </a:ext>
            </a:extLst>
          </p:cNvPr>
          <p:cNvSpPr/>
          <p:nvPr/>
        </p:nvSpPr>
        <p:spPr>
          <a:xfrm>
            <a:off x="1079586" y="5018656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7" name="타원 6">
            <a:extLst>
              <a:ext uri="{FF2B5EF4-FFF2-40B4-BE49-F238E27FC236}">
                <a16:creationId xmlns:a16="http://schemas.microsoft.com/office/drawing/2014/main" id="{9D10E017-EA25-4715-A2D9-C3A8E99AAEE1}"/>
              </a:ext>
            </a:extLst>
          </p:cNvPr>
          <p:cNvSpPr/>
          <p:nvPr/>
        </p:nvSpPr>
        <p:spPr>
          <a:xfrm>
            <a:off x="1079586" y="5410541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200639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6675F548-9289-45E4-AEE5-877A98B622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A2C35-B01B-4692-A311-0CA971B40953}" type="slidenum">
              <a:rPr lang="ko-KR" altLang="en-US" smtClean="0"/>
              <a:pPr/>
              <a:t>5</a:t>
            </a:fld>
            <a:endParaRPr lang="ko-KR" altLang="en-US"/>
          </a:p>
        </p:txBody>
      </p:sp>
      <p:sp>
        <p:nvSpPr>
          <p:cNvPr id="28" name="텍스트 개체 틀 27">
            <a:extLst>
              <a:ext uri="{FF2B5EF4-FFF2-40B4-BE49-F238E27FC236}">
                <a16:creationId xmlns:a16="http://schemas.microsoft.com/office/drawing/2014/main" id="{63D36A48-6154-4169-95D3-6BC36AD77F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6671" y="262717"/>
            <a:ext cx="1787875" cy="332486"/>
          </a:xfrm>
        </p:spPr>
        <p:txBody>
          <a:bodyPr/>
          <a:lstStyle/>
          <a:p>
            <a:r>
              <a:rPr lang="en-US" altLang="ko-KR" dirty="0"/>
              <a:t>GUIDE-HOME-01</a:t>
            </a:r>
            <a:endParaRPr lang="ko-KR" altLang="en-US" dirty="0"/>
          </a:p>
        </p:txBody>
      </p:sp>
      <p:sp>
        <p:nvSpPr>
          <p:cNvPr id="30" name="텍스트 개체 틀 29">
            <a:extLst>
              <a:ext uri="{FF2B5EF4-FFF2-40B4-BE49-F238E27FC236}">
                <a16:creationId xmlns:a16="http://schemas.microsoft.com/office/drawing/2014/main" id="{3336D425-81BE-4CF7-88D9-43A7736F91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홈 화면</a:t>
            </a:r>
          </a:p>
        </p:txBody>
      </p:sp>
      <p:sp>
        <p:nvSpPr>
          <p:cNvPr id="26" name="텍스트 개체 틀 25">
            <a:extLst>
              <a:ext uri="{FF2B5EF4-FFF2-40B4-BE49-F238E27FC236}">
                <a16:creationId xmlns:a16="http://schemas.microsoft.com/office/drawing/2014/main" id="{F115F714-E826-467D-8E0D-4F5D96A5F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spcBef>
                <a:spcPts val="800"/>
              </a:spcBef>
            </a:pPr>
            <a:r>
              <a:rPr lang="en-US" altLang="ko-KR" dirty="0"/>
              <a:t>IT Helpdesk</a:t>
            </a:r>
            <a:r>
              <a:rPr lang="ko-KR" altLang="en-US" dirty="0"/>
              <a:t>의 메뉴</a:t>
            </a:r>
            <a:r>
              <a:rPr lang="en-US" altLang="ko-KR" dirty="0"/>
              <a:t>(Header) </a:t>
            </a:r>
            <a:r>
              <a:rPr lang="ko-KR" altLang="en-US" dirty="0"/>
              <a:t>영역입니다</a:t>
            </a:r>
            <a:r>
              <a:rPr lang="en-US" altLang="ko-KR" dirty="0"/>
              <a:t>. </a:t>
            </a:r>
            <a:r>
              <a:rPr lang="ko-KR" altLang="en-US" dirty="0"/>
              <a:t>메뉴를 클릭하여 화면이 변경되어도 고정 메뉴로 보여줍니다</a:t>
            </a:r>
            <a:r>
              <a:rPr lang="en-US" altLang="ko-KR" dirty="0"/>
              <a:t>.</a:t>
            </a:r>
            <a:r>
              <a:rPr lang="ko-KR" altLang="en-US" dirty="0"/>
              <a:t> </a:t>
            </a:r>
            <a:endParaRPr lang="en-US" altLang="ko-KR" dirty="0"/>
          </a:p>
          <a:p>
            <a:pPr>
              <a:spcBef>
                <a:spcPts val="800"/>
              </a:spcBef>
            </a:pPr>
            <a:r>
              <a:rPr lang="en-US" altLang="ko-KR" dirty="0"/>
              <a:t>IT Helpdesk</a:t>
            </a:r>
            <a:r>
              <a:rPr lang="ko-KR" altLang="en-US" dirty="0"/>
              <a:t>의 통합 검색 영역입니다</a:t>
            </a:r>
            <a:r>
              <a:rPr lang="en-US" altLang="ko-KR" dirty="0"/>
              <a:t>. </a:t>
            </a:r>
            <a:r>
              <a:rPr lang="ko-KR" altLang="en-US" dirty="0"/>
              <a:t>단어나 문장을 입력하여 </a:t>
            </a:r>
            <a:r>
              <a:rPr lang="en-US" altLang="ko-KR" dirty="0"/>
              <a:t>IT Helpdesk</a:t>
            </a:r>
            <a:r>
              <a:rPr lang="ko-KR" altLang="en-US" dirty="0"/>
              <a:t>의 </a:t>
            </a:r>
            <a:r>
              <a:rPr lang="en-US" altLang="ko-KR" dirty="0"/>
              <a:t>FAQ, </a:t>
            </a:r>
            <a:r>
              <a:rPr lang="ko-KR" altLang="en-US" dirty="0"/>
              <a:t>매뉴얼</a:t>
            </a:r>
            <a:r>
              <a:rPr lang="en-US" altLang="ko-KR" dirty="0"/>
              <a:t>, </a:t>
            </a:r>
            <a:r>
              <a:rPr lang="ko-KR" altLang="en-US" dirty="0"/>
              <a:t>서비스</a:t>
            </a:r>
            <a:r>
              <a:rPr lang="en-US" altLang="ko-KR" dirty="0"/>
              <a:t>/</a:t>
            </a:r>
            <a:r>
              <a:rPr lang="ko-KR" altLang="en-US" dirty="0"/>
              <a:t>어플리케이션 정보를 검색할 수 있습니다</a:t>
            </a:r>
            <a:r>
              <a:rPr lang="en-US" altLang="ko-KR" dirty="0"/>
              <a:t>.</a:t>
            </a:r>
          </a:p>
          <a:p>
            <a:pPr>
              <a:spcBef>
                <a:spcPts val="800"/>
              </a:spcBef>
            </a:pPr>
            <a:r>
              <a:rPr lang="en-US" altLang="ko-KR" dirty="0"/>
              <a:t>IT Helpdesk</a:t>
            </a:r>
            <a:r>
              <a:rPr lang="ko-KR" altLang="en-US" dirty="0"/>
              <a:t>에서 요청할 수 있는 문의 유형을 보여줍니다</a:t>
            </a:r>
            <a:r>
              <a:rPr lang="en-US" altLang="ko-KR" dirty="0"/>
              <a:t>. </a:t>
            </a:r>
            <a:r>
              <a:rPr lang="ko-KR" altLang="en-US" dirty="0"/>
              <a:t>클릭하여 요청할 수 있습니다</a:t>
            </a:r>
            <a:r>
              <a:rPr lang="en-US" altLang="ko-KR" dirty="0"/>
              <a:t>.</a:t>
            </a:r>
          </a:p>
          <a:p>
            <a:pPr>
              <a:spcBef>
                <a:spcPts val="800"/>
              </a:spcBef>
            </a:pPr>
            <a:r>
              <a:rPr lang="ko-KR" altLang="en-US" dirty="0"/>
              <a:t>사용자가 즐겨 찾는 서비스</a:t>
            </a:r>
            <a:r>
              <a:rPr lang="en-US" altLang="ko-KR" dirty="0"/>
              <a:t>, </a:t>
            </a:r>
            <a:r>
              <a:rPr lang="ko-KR" altLang="en-US" dirty="0"/>
              <a:t>최근 요청한 서비스 목록을 보여줍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즐겨 찾는 서비스</a:t>
            </a:r>
            <a:r>
              <a:rPr lang="en-US" altLang="ko-KR" dirty="0"/>
              <a:t>: </a:t>
            </a:r>
            <a:r>
              <a:rPr lang="ko-KR" altLang="en-US" dirty="0"/>
              <a:t>최대 </a:t>
            </a:r>
            <a:r>
              <a:rPr lang="en-US" altLang="ko-KR" dirty="0"/>
              <a:t>10</a:t>
            </a:r>
            <a:r>
              <a:rPr lang="ko-KR" altLang="en-US" dirty="0"/>
              <a:t>개까지 보여주며 내 프로필 화면에서 추가</a:t>
            </a:r>
            <a:r>
              <a:rPr lang="en-US" altLang="ko-KR" dirty="0"/>
              <a:t>/</a:t>
            </a:r>
            <a:r>
              <a:rPr lang="ko-KR" altLang="en-US" dirty="0"/>
              <a:t>삭제할 수 있습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dirty="0"/>
              <a:t>최근 요청 서비스</a:t>
            </a:r>
            <a:r>
              <a:rPr lang="en-US" altLang="ko-KR" dirty="0"/>
              <a:t>:</a:t>
            </a:r>
            <a:r>
              <a:rPr lang="ko-KR" altLang="en-US" dirty="0"/>
              <a:t> </a:t>
            </a:r>
            <a:r>
              <a:rPr lang="en-US" altLang="ko-KR" dirty="0"/>
              <a:t>IT Helpdesk </a:t>
            </a:r>
            <a:r>
              <a:rPr lang="ko-KR" altLang="en-US" dirty="0"/>
              <a:t>시스템에서 사용자가 최근에 요청한 서비스</a:t>
            </a:r>
            <a:r>
              <a:rPr lang="en-US" altLang="ko-KR" dirty="0"/>
              <a:t>/</a:t>
            </a:r>
            <a:r>
              <a:rPr lang="ko-KR" altLang="en-US" dirty="0"/>
              <a:t>어플리케이션을 기준으로 최대 </a:t>
            </a:r>
            <a:r>
              <a:rPr lang="en-US" altLang="ko-KR" dirty="0"/>
              <a:t>10</a:t>
            </a:r>
            <a:r>
              <a:rPr lang="ko-KR" altLang="en-US" dirty="0"/>
              <a:t>개까지 보여줍니다</a:t>
            </a:r>
            <a:r>
              <a:rPr lang="en-US" altLang="ko-KR" dirty="0"/>
              <a:t>..</a:t>
            </a:r>
          </a:p>
          <a:p>
            <a:pPr>
              <a:spcBef>
                <a:spcPts val="800"/>
              </a:spcBef>
            </a:pPr>
            <a:r>
              <a:rPr lang="ko-KR" altLang="en-US" dirty="0"/>
              <a:t>사용자자의 요청 목록을 최근 신청 기준으로 </a:t>
            </a:r>
            <a:r>
              <a:rPr lang="en-US" altLang="ko-KR" dirty="0"/>
              <a:t>5</a:t>
            </a:r>
            <a:r>
              <a:rPr lang="ko-KR" altLang="en-US" dirty="0"/>
              <a:t>개 보여줍니다</a:t>
            </a:r>
            <a:r>
              <a:rPr lang="en-US" altLang="ko-KR" dirty="0"/>
              <a:t>. </a:t>
            </a:r>
          </a:p>
          <a:p>
            <a:pPr>
              <a:spcBef>
                <a:spcPts val="800"/>
              </a:spcBef>
            </a:pPr>
            <a:r>
              <a:rPr lang="en-US" altLang="ko-KR" dirty="0"/>
              <a:t>IT Helpdesk </a:t>
            </a:r>
            <a:r>
              <a:rPr lang="ko-KR" altLang="en-US" dirty="0"/>
              <a:t>서비스 시스템의 공지사항을 최근 등록 기준으로 </a:t>
            </a:r>
            <a:r>
              <a:rPr lang="en-US" altLang="ko-KR" dirty="0"/>
              <a:t>5</a:t>
            </a:r>
            <a:r>
              <a:rPr lang="ko-KR" altLang="en-US" dirty="0"/>
              <a:t>개 보여줍니다</a:t>
            </a:r>
            <a:r>
              <a:rPr lang="en-US" altLang="ko-KR" dirty="0"/>
              <a:t>.</a:t>
            </a:r>
          </a:p>
          <a:p>
            <a:pPr>
              <a:spcBef>
                <a:spcPts val="800"/>
              </a:spcBef>
            </a:pPr>
            <a:r>
              <a:rPr lang="ko-KR" altLang="en-US" dirty="0"/>
              <a:t>클릭하여 </a:t>
            </a:r>
            <a:r>
              <a:rPr lang="en-US" altLang="ko-KR" dirty="0"/>
              <a:t>FAQ, </a:t>
            </a:r>
            <a:r>
              <a:rPr lang="ko-KR" altLang="en-US" dirty="0"/>
              <a:t>매뉴얼</a:t>
            </a:r>
            <a:r>
              <a:rPr lang="en-US" altLang="ko-KR" dirty="0"/>
              <a:t>, </a:t>
            </a:r>
            <a:r>
              <a:rPr lang="ko-KR" altLang="en-US" dirty="0"/>
              <a:t>다운로드 페이지로 이동할 수 있습니다</a:t>
            </a:r>
            <a:r>
              <a:rPr lang="en-US" altLang="ko-KR" dirty="0"/>
              <a:t>.</a:t>
            </a:r>
          </a:p>
          <a:p>
            <a:pPr>
              <a:spcBef>
                <a:spcPts val="800"/>
              </a:spcBef>
            </a:pPr>
            <a:r>
              <a:rPr lang="ko-KR" altLang="en-US" dirty="0" err="1"/>
              <a:t>챗</a:t>
            </a:r>
            <a:r>
              <a:rPr lang="ko-KR" altLang="en-US" dirty="0"/>
              <a:t> 봇을 통하여 필요한 정보를 찾거나 상담원과 대화하여 문제를 해결할 수 있습니다</a:t>
            </a:r>
            <a:r>
              <a:rPr lang="en-US" altLang="ko-KR" dirty="0"/>
              <a:t>.</a:t>
            </a:r>
          </a:p>
          <a:p>
            <a:pPr>
              <a:spcBef>
                <a:spcPts val="800"/>
              </a:spcBef>
            </a:pPr>
            <a:r>
              <a:rPr lang="ko-KR" altLang="en-US" dirty="0"/>
              <a:t>내 프로필</a:t>
            </a:r>
            <a:r>
              <a:rPr lang="en-US" altLang="ko-KR" dirty="0"/>
              <a:t>, </a:t>
            </a:r>
            <a:r>
              <a:rPr lang="ko-KR" altLang="en-US" dirty="0"/>
              <a:t>내가 요청한 문의</a:t>
            </a:r>
            <a:r>
              <a:rPr lang="en-US" altLang="ko-KR" dirty="0"/>
              <a:t>, </a:t>
            </a:r>
            <a:r>
              <a:rPr lang="ko-KR" altLang="en-US" dirty="0"/>
              <a:t>내가 즐겨 찾기 한 </a:t>
            </a:r>
            <a:r>
              <a:rPr lang="en-US" altLang="ko-KR" dirty="0"/>
              <a:t>FAQ </a:t>
            </a:r>
            <a:r>
              <a:rPr lang="ko-KR" altLang="en-US" dirty="0"/>
              <a:t>문서</a:t>
            </a:r>
            <a:r>
              <a:rPr lang="en-US" altLang="ko-KR" dirty="0"/>
              <a:t>, </a:t>
            </a:r>
            <a:r>
              <a:rPr lang="ko-KR" altLang="en-US" dirty="0"/>
              <a:t>내가 남긴 댓글 등을 확인할 수 있는 메뉴를 확인 할 수 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E9BE0015-1509-4C28-8D42-F8BEBF0F999C}"/>
              </a:ext>
            </a:extLst>
          </p:cNvPr>
          <p:cNvGrpSpPr/>
          <p:nvPr/>
        </p:nvGrpSpPr>
        <p:grpSpPr>
          <a:xfrm>
            <a:off x="1112487" y="817575"/>
            <a:ext cx="4772025" cy="6104996"/>
            <a:chOff x="0" y="-146858"/>
            <a:chExt cx="10439400" cy="13355440"/>
          </a:xfrm>
        </p:grpSpPr>
        <p:pic>
          <p:nvPicPr>
            <p:cNvPr id="31" name="그림 30">
              <a:extLst>
                <a:ext uri="{FF2B5EF4-FFF2-40B4-BE49-F238E27FC236}">
                  <a16:creationId xmlns:a16="http://schemas.microsoft.com/office/drawing/2014/main" id="{202B6A85-6AEB-4A85-BFA9-2E16F95A011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-146858"/>
              <a:ext cx="10439400" cy="3395689"/>
            </a:xfrm>
            <a:prstGeom prst="rect">
              <a:avLst/>
            </a:prstGeom>
          </p:spPr>
        </p:pic>
        <p:pic>
          <p:nvPicPr>
            <p:cNvPr id="32" name="그림 31">
              <a:extLst>
                <a:ext uri="{FF2B5EF4-FFF2-40B4-BE49-F238E27FC236}">
                  <a16:creationId xmlns:a16="http://schemas.microsoft.com/office/drawing/2014/main" id="{AA1A82F2-0322-42F2-A97C-73FA51F7A3A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3163625"/>
              <a:ext cx="10439400" cy="4699524"/>
            </a:xfrm>
            <a:prstGeom prst="rect">
              <a:avLst/>
            </a:prstGeom>
          </p:spPr>
        </p:pic>
        <p:pic>
          <p:nvPicPr>
            <p:cNvPr id="33" name="그림 32">
              <a:extLst>
                <a:ext uri="{FF2B5EF4-FFF2-40B4-BE49-F238E27FC236}">
                  <a16:creationId xmlns:a16="http://schemas.microsoft.com/office/drawing/2014/main" id="{33F0C872-C5F4-44A0-883A-006E111FFDE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0" y="7863149"/>
              <a:ext cx="10439400" cy="5345433"/>
            </a:xfrm>
            <a:prstGeom prst="rect">
              <a:avLst/>
            </a:prstGeom>
          </p:spPr>
        </p:pic>
      </p:grpSp>
      <p:sp>
        <p:nvSpPr>
          <p:cNvPr id="35" name="사각형: 둥근 모서리 34">
            <a:extLst>
              <a:ext uri="{FF2B5EF4-FFF2-40B4-BE49-F238E27FC236}">
                <a16:creationId xmlns:a16="http://schemas.microsoft.com/office/drawing/2014/main" id="{AA77B156-F2EA-4368-B346-D969EC017745}"/>
              </a:ext>
            </a:extLst>
          </p:cNvPr>
          <p:cNvSpPr/>
          <p:nvPr/>
        </p:nvSpPr>
        <p:spPr>
          <a:xfrm>
            <a:off x="813156" y="787263"/>
            <a:ext cx="5071355" cy="332487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6" name="사각형: 둥근 모서리 35">
            <a:extLst>
              <a:ext uri="{FF2B5EF4-FFF2-40B4-BE49-F238E27FC236}">
                <a16:creationId xmlns:a16="http://schemas.microsoft.com/office/drawing/2014/main" id="{6A921242-D553-44FA-BE8C-5CE2C8B0C127}"/>
              </a:ext>
            </a:extLst>
          </p:cNvPr>
          <p:cNvSpPr/>
          <p:nvPr/>
        </p:nvSpPr>
        <p:spPr>
          <a:xfrm>
            <a:off x="813156" y="1150062"/>
            <a:ext cx="5071355" cy="1180789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사각형: 둥근 모서리 36">
            <a:extLst>
              <a:ext uri="{FF2B5EF4-FFF2-40B4-BE49-F238E27FC236}">
                <a16:creationId xmlns:a16="http://schemas.microsoft.com/office/drawing/2014/main" id="{33F708D2-F4C1-46FB-A6ED-DD6658B9BB6A}"/>
              </a:ext>
            </a:extLst>
          </p:cNvPr>
          <p:cNvSpPr/>
          <p:nvPr/>
        </p:nvSpPr>
        <p:spPr>
          <a:xfrm>
            <a:off x="813155" y="2369801"/>
            <a:ext cx="5071355" cy="2109282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8" name="사각형: 둥근 모서리 37">
            <a:extLst>
              <a:ext uri="{FF2B5EF4-FFF2-40B4-BE49-F238E27FC236}">
                <a16:creationId xmlns:a16="http://schemas.microsoft.com/office/drawing/2014/main" id="{D1F7D4B1-DA19-4222-BFD3-C6EFE3FBA6D9}"/>
              </a:ext>
            </a:extLst>
          </p:cNvPr>
          <p:cNvSpPr/>
          <p:nvPr/>
        </p:nvSpPr>
        <p:spPr>
          <a:xfrm>
            <a:off x="813154" y="4530739"/>
            <a:ext cx="5071355" cy="760520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9" name="사각형: 둥근 모서리 38">
            <a:extLst>
              <a:ext uri="{FF2B5EF4-FFF2-40B4-BE49-F238E27FC236}">
                <a16:creationId xmlns:a16="http://schemas.microsoft.com/office/drawing/2014/main" id="{575CA71B-6ADA-4184-AF6F-C763D4B1E088}"/>
              </a:ext>
            </a:extLst>
          </p:cNvPr>
          <p:cNvSpPr/>
          <p:nvPr/>
        </p:nvSpPr>
        <p:spPr>
          <a:xfrm>
            <a:off x="813155" y="5347798"/>
            <a:ext cx="2377720" cy="979958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9A9C0D4C-A63F-4BAC-A0C3-C87EC8229A28}"/>
              </a:ext>
            </a:extLst>
          </p:cNvPr>
          <p:cNvSpPr/>
          <p:nvPr/>
        </p:nvSpPr>
        <p:spPr>
          <a:xfrm>
            <a:off x="813154" y="6382568"/>
            <a:ext cx="4587521" cy="540003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타원 41">
            <a:extLst>
              <a:ext uri="{FF2B5EF4-FFF2-40B4-BE49-F238E27FC236}">
                <a16:creationId xmlns:a16="http://schemas.microsoft.com/office/drawing/2014/main" id="{FFA494D1-E7C7-498B-8C60-1CA53B12F148}"/>
              </a:ext>
            </a:extLst>
          </p:cNvPr>
          <p:cNvSpPr/>
          <p:nvPr/>
        </p:nvSpPr>
        <p:spPr>
          <a:xfrm>
            <a:off x="886305" y="892138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43" name="타원 42">
            <a:extLst>
              <a:ext uri="{FF2B5EF4-FFF2-40B4-BE49-F238E27FC236}">
                <a16:creationId xmlns:a16="http://schemas.microsoft.com/office/drawing/2014/main" id="{53EB7B4B-247F-4441-8D72-B325FCC09310}"/>
              </a:ext>
            </a:extLst>
          </p:cNvPr>
          <p:cNvSpPr/>
          <p:nvPr/>
        </p:nvSpPr>
        <p:spPr>
          <a:xfrm>
            <a:off x="886305" y="1264125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44" name="타원 43">
            <a:extLst>
              <a:ext uri="{FF2B5EF4-FFF2-40B4-BE49-F238E27FC236}">
                <a16:creationId xmlns:a16="http://schemas.microsoft.com/office/drawing/2014/main" id="{7B88D867-7833-47F6-BDC7-B274225B4455}"/>
              </a:ext>
            </a:extLst>
          </p:cNvPr>
          <p:cNvSpPr/>
          <p:nvPr/>
        </p:nvSpPr>
        <p:spPr>
          <a:xfrm>
            <a:off x="886305" y="2444914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45" name="타원 44">
            <a:extLst>
              <a:ext uri="{FF2B5EF4-FFF2-40B4-BE49-F238E27FC236}">
                <a16:creationId xmlns:a16="http://schemas.microsoft.com/office/drawing/2014/main" id="{A0EC2140-6BEE-4E4D-A40E-793EC633C8BF}"/>
              </a:ext>
            </a:extLst>
          </p:cNvPr>
          <p:cNvSpPr/>
          <p:nvPr/>
        </p:nvSpPr>
        <p:spPr>
          <a:xfrm>
            <a:off x="886305" y="4623458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D0C5699F-051A-4CDD-A40D-E532DBB4F8F8}"/>
              </a:ext>
            </a:extLst>
          </p:cNvPr>
          <p:cNvSpPr/>
          <p:nvPr/>
        </p:nvSpPr>
        <p:spPr>
          <a:xfrm>
            <a:off x="886305" y="5435634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5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6574736E-5E38-4D3E-9EBB-D8E694FC8135}"/>
              </a:ext>
            </a:extLst>
          </p:cNvPr>
          <p:cNvSpPr/>
          <p:nvPr/>
        </p:nvSpPr>
        <p:spPr>
          <a:xfrm>
            <a:off x="5807993" y="5407362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6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48" name="타원 47">
            <a:extLst>
              <a:ext uri="{FF2B5EF4-FFF2-40B4-BE49-F238E27FC236}">
                <a16:creationId xmlns:a16="http://schemas.microsoft.com/office/drawing/2014/main" id="{9FDEC61E-AC49-48D9-9120-E5F4FA8083A4}"/>
              </a:ext>
            </a:extLst>
          </p:cNvPr>
          <p:cNvSpPr/>
          <p:nvPr/>
        </p:nvSpPr>
        <p:spPr>
          <a:xfrm>
            <a:off x="882942" y="6467753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7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B55BC2AD-68CA-47B0-A66F-123F0C0C2363}"/>
              </a:ext>
            </a:extLst>
          </p:cNvPr>
          <p:cNvSpPr/>
          <p:nvPr/>
        </p:nvSpPr>
        <p:spPr>
          <a:xfrm>
            <a:off x="3264025" y="5341677"/>
            <a:ext cx="2777772" cy="979958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0" name="타원 49">
            <a:extLst>
              <a:ext uri="{FF2B5EF4-FFF2-40B4-BE49-F238E27FC236}">
                <a16:creationId xmlns:a16="http://schemas.microsoft.com/office/drawing/2014/main" id="{4274D4C5-5865-44C0-82A7-2734D4A14BCD}"/>
              </a:ext>
            </a:extLst>
          </p:cNvPr>
          <p:cNvSpPr/>
          <p:nvPr/>
        </p:nvSpPr>
        <p:spPr>
          <a:xfrm>
            <a:off x="5804630" y="6544269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8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51" name="직선 연결선 50">
            <a:extLst>
              <a:ext uri="{FF2B5EF4-FFF2-40B4-BE49-F238E27FC236}">
                <a16:creationId xmlns:a16="http://schemas.microsoft.com/office/drawing/2014/main" id="{D2057E41-4ABE-4A6A-808C-E09B21D2A46C}"/>
              </a:ext>
            </a:extLst>
          </p:cNvPr>
          <p:cNvCxnSpPr>
            <a:cxnSpLocks/>
          </p:cNvCxnSpPr>
          <p:nvPr/>
        </p:nvCxnSpPr>
        <p:spPr>
          <a:xfrm>
            <a:off x="7636369" y="1181677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직선 연결선 52">
            <a:extLst>
              <a:ext uri="{FF2B5EF4-FFF2-40B4-BE49-F238E27FC236}">
                <a16:creationId xmlns:a16="http://schemas.microsoft.com/office/drawing/2014/main" id="{05B3EEB7-E9C9-4135-9F2E-AA456994A0F1}"/>
              </a:ext>
            </a:extLst>
          </p:cNvPr>
          <p:cNvCxnSpPr>
            <a:cxnSpLocks/>
          </p:cNvCxnSpPr>
          <p:nvPr/>
        </p:nvCxnSpPr>
        <p:spPr>
          <a:xfrm>
            <a:off x="7636369" y="1724002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직선 연결선 53">
            <a:extLst>
              <a:ext uri="{FF2B5EF4-FFF2-40B4-BE49-F238E27FC236}">
                <a16:creationId xmlns:a16="http://schemas.microsoft.com/office/drawing/2014/main" id="{DD194B2A-FFD3-4D00-8D34-4B3510985A77}"/>
              </a:ext>
            </a:extLst>
          </p:cNvPr>
          <p:cNvCxnSpPr>
            <a:cxnSpLocks/>
          </p:cNvCxnSpPr>
          <p:nvPr/>
        </p:nvCxnSpPr>
        <p:spPr>
          <a:xfrm>
            <a:off x="7636369" y="2096974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직선 연결선 54">
            <a:extLst>
              <a:ext uri="{FF2B5EF4-FFF2-40B4-BE49-F238E27FC236}">
                <a16:creationId xmlns:a16="http://schemas.microsoft.com/office/drawing/2014/main" id="{05124C3B-BCC3-489A-9177-18DD0012DB2C}"/>
              </a:ext>
            </a:extLst>
          </p:cNvPr>
          <p:cNvCxnSpPr>
            <a:cxnSpLocks/>
          </p:cNvCxnSpPr>
          <p:nvPr/>
        </p:nvCxnSpPr>
        <p:spPr>
          <a:xfrm>
            <a:off x="7636369" y="3267622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직선 연결선 55">
            <a:extLst>
              <a:ext uri="{FF2B5EF4-FFF2-40B4-BE49-F238E27FC236}">
                <a16:creationId xmlns:a16="http://schemas.microsoft.com/office/drawing/2014/main" id="{C19FD447-F989-40EB-969C-3112AD9652AB}"/>
              </a:ext>
            </a:extLst>
          </p:cNvPr>
          <p:cNvCxnSpPr>
            <a:cxnSpLocks/>
          </p:cNvCxnSpPr>
          <p:nvPr/>
        </p:nvCxnSpPr>
        <p:spPr>
          <a:xfrm>
            <a:off x="7636369" y="3625869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직선 연결선 56">
            <a:extLst>
              <a:ext uri="{FF2B5EF4-FFF2-40B4-BE49-F238E27FC236}">
                <a16:creationId xmlns:a16="http://schemas.microsoft.com/office/drawing/2014/main" id="{F373415C-74AE-4F38-BBBB-AD77EE20303B}"/>
              </a:ext>
            </a:extLst>
          </p:cNvPr>
          <p:cNvCxnSpPr>
            <a:cxnSpLocks/>
          </p:cNvCxnSpPr>
          <p:nvPr/>
        </p:nvCxnSpPr>
        <p:spPr>
          <a:xfrm>
            <a:off x="7636369" y="4000085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직선 연결선 57">
            <a:extLst>
              <a:ext uri="{FF2B5EF4-FFF2-40B4-BE49-F238E27FC236}">
                <a16:creationId xmlns:a16="http://schemas.microsoft.com/office/drawing/2014/main" id="{A8E5538E-FB77-4CDE-A3FB-AB595E261B7B}"/>
              </a:ext>
            </a:extLst>
          </p:cNvPr>
          <p:cNvCxnSpPr>
            <a:cxnSpLocks/>
          </p:cNvCxnSpPr>
          <p:nvPr/>
        </p:nvCxnSpPr>
        <p:spPr>
          <a:xfrm>
            <a:off x="7636369" y="4439156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타원 58">
            <a:extLst>
              <a:ext uri="{FF2B5EF4-FFF2-40B4-BE49-F238E27FC236}">
                <a16:creationId xmlns:a16="http://schemas.microsoft.com/office/drawing/2014/main" id="{A1A9A8E6-55D0-45F7-B79A-C4BCF33367D0}"/>
              </a:ext>
            </a:extLst>
          </p:cNvPr>
          <p:cNvSpPr/>
          <p:nvPr/>
        </p:nvSpPr>
        <p:spPr>
          <a:xfrm>
            <a:off x="7699880" y="791207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60" name="타원 59">
            <a:extLst>
              <a:ext uri="{FF2B5EF4-FFF2-40B4-BE49-F238E27FC236}">
                <a16:creationId xmlns:a16="http://schemas.microsoft.com/office/drawing/2014/main" id="{B4B3078D-93B7-4A31-8A73-94CE0A41B532}"/>
              </a:ext>
            </a:extLst>
          </p:cNvPr>
          <p:cNvSpPr/>
          <p:nvPr/>
        </p:nvSpPr>
        <p:spPr>
          <a:xfrm>
            <a:off x="7699880" y="1255384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61" name="타원 60">
            <a:extLst>
              <a:ext uri="{FF2B5EF4-FFF2-40B4-BE49-F238E27FC236}">
                <a16:creationId xmlns:a16="http://schemas.microsoft.com/office/drawing/2014/main" id="{1DFF970F-5551-4468-8731-C0AB4E19C31C}"/>
              </a:ext>
            </a:extLst>
          </p:cNvPr>
          <p:cNvSpPr/>
          <p:nvPr/>
        </p:nvSpPr>
        <p:spPr>
          <a:xfrm>
            <a:off x="7699880" y="1775763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62" name="타원 61">
            <a:extLst>
              <a:ext uri="{FF2B5EF4-FFF2-40B4-BE49-F238E27FC236}">
                <a16:creationId xmlns:a16="http://schemas.microsoft.com/office/drawing/2014/main" id="{C9B35356-7D7F-44A4-966E-F9732D38BBD0}"/>
              </a:ext>
            </a:extLst>
          </p:cNvPr>
          <p:cNvSpPr/>
          <p:nvPr/>
        </p:nvSpPr>
        <p:spPr>
          <a:xfrm>
            <a:off x="7699880" y="2150871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63" name="타원 62">
            <a:extLst>
              <a:ext uri="{FF2B5EF4-FFF2-40B4-BE49-F238E27FC236}">
                <a16:creationId xmlns:a16="http://schemas.microsoft.com/office/drawing/2014/main" id="{C43DB15B-6986-4256-8ACA-D0692E0AD135}"/>
              </a:ext>
            </a:extLst>
          </p:cNvPr>
          <p:cNvSpPr/>
          <p:nvPr/>
        </p:nvSpPr>
        <p:spPr>
          <a:xfrm>
            <a:off x="7699880" y="3320066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5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64" name="타원 63">
            <a:extLst>
              <a:ext uri="{FF2B5EF4-FFF2-40B4-BE49-F238E27FC236}">
                <a16:creationId xmlns:a16="http://schemas.microsoft.com/office/drawing/2014/main" id="{41FBD8C0-A8F5-476E-ABCC-8178B93CBE20}"/>
              </a:ext>
            </a:extLst>
          </p:cNvPr>
          <p:cNvSpPr/>
          <p:nvPr/>
        </p:nvSpPr>
        <p:spPr>
          <a:xfrm>
            <a:off x="7699880" y="3678313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6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65" name="타원 64">
            <a:extLst>
              <a:ext uri="{FF2B5EF4-FFF2-40B4-BE49-F238E27FC236}">
                <a16:creationId xmlns:a16="http://schemas.microsoft.com/office/drawing/2014/main" id="{05294F68-1C86-47B9-AD5B-41A2712F26B0}"/>
              </a:ext>
            </a:extLst>
          </p:cNvPr>
          <p:cNvSpPr/>
          <p:nvPr/>
        </p:nvSpPr>
        <p:spPr>
          <a:xfrm>
            <a:off x="7699880" y="4068837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7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66" name="타원 65">
            <a:extLst>
              <a:ext uri="{FF2B5EF4-FFF2-40B4-BE49-F238E27FC236}">
                <a16:creationId xmlns:a16="http://schemas.microsoft.com/office/drawing/2014/main" id="{D3B49BC7-2E69-484B-A718-C81A48640944}"/>
              </a:ext>
            </a:extLst>
          </p:cNvPr>
          <p:cNvSpPr/>
          <p:nvPr/>
        </p:nvSpPr>
        <p:spPr>
          <a:xfrm>
            <a:off x="7699880" y="449160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8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67" name="타원 66">
            <a:extLst>
              <a:ext uri="{FF2B5EF4-FFF2-40B4-BE49-F238E27FC236}">
                <a16:creationId xmlns:a16="http://schemas.microsoft.com/office/drawing/2014/main" id="{29F4AE57-F743-459E-A81E-172F570B72FF}"/>
              </a:ext>
            </a:extLst>
          </p:cNvPr>
          <p:cNvSpPr/>
          <p:nvPr/>
        </p:nvSpPr>
        <p:spPr>
          <a:xfrm>
            <a:off x="5495962" y="781548"/>
            <a:ext cx="388550" cy="388550"/>
          </a:xfrm>
          <a:prstGeom prst="ellipse">
            <a:avLst/>
          </a:prstGeom>
          <a:noFill/>
          <a:ln w="19050">
            <a:solidFill>
              <a:srgbClr val="FF0000"/>
            </a:solidFill>
            <a:prstDash val="sys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8" name="타원 67">
            <a:extLst>
              <a:ext uri="{FF2B5EF4-FFF2-40B4-BE49-F238E27FC236}">
                <a16:creationId xmlns:a16="http://schemas.microsoft.com/office/drawing/2014/main" id="{621C54C4-DF21-41BE-846C-A3B5FFC678B9}"/>
              </a:ext>
            </a:extLst>
          </p:cNvPr>
          <p:cNvSpPr/>
          <p:nvPr/>
        </p:nvSpPr>
        <p:spPr>
          <a:xfrm>
            <a:off x="5939021" y="832056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9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69" name="직선 연결선 68">
            <a:extLst>
              <a:ext uri="{FF2B5EF4-FFF2-40B4-BE49-F238E27FC236}">
                <a16:creationId xmlns:a16="http://schemas.microsoft.com/office/drawing/2014/main" id="{DD710F0A-A465-4E11-86B5-A98881AF8B36}"/>
              </a:ext>
            </a:extLst>
          </p:cNvPr>
          <p:cNvCxnSpPr>
            <a:cxnSpLocks/>
          </p:cNvCxnSpPr>
          <p:nvPr/>
        </p:nvCxnSpPr>
        <p:spPr>
          <a:xfrm>
            <a:off x="7636369" y="4754894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타원 69">
            <a:extLst>
              <a:ext uri="{FF2B5EF4-FFF2-40B4-BE49-F238E27FC236}">
                <a16:creationId xmlns:a16="http://schemas.microsoft.com/office/drawing/2014/main" id="{96647FA1-BE30-45C7-9ED7-683DA0A08DE1}"/>
              </a:ext>
            </a:extLst>
          </p:cNvPr>
          <p:cNvSpPr/>
          <p:nvPr/>
        </p:nvSpPr>
        <p:spPr>
          <a:xfrm>
            <a:off x="7699880" y="4880551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9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953446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A2E573C3-2E07-46DC-A484-81B345FA4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48389E4-9BF2-437B-83E2-FE8E6CF2D9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GUIDE-HOME-02</a:t>
            </a:r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94AC05BA-9838-4A6E-9C97-DDDB7EFEA7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ko-KR" dirty="0"/>
              <a:t>FAQ</a:t>
            </a:r>
            <a:endParaRPr lang="ko-KR" altLang="en-US" dirty="0"/>
          </a:p>
        </p:txBody>
      </p:sp>
      <p:sp>
        <p:nvSpPr>
          <p:cNvPr id="45" name="텍스트 개체 틀 25">
            <a:extLst>
              <a:ext uri="{FF2B5EF4-FFF2-40B4-BE49-F238E27FC236}">
                <a16:creationId xmlns:a16="http://schemas.microsoft.com/office/drawing/2014/main" id="{D6608DD2-183F-4BB9-A9B4-10047D29D1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16423" y="738537"/>
            <a:ext cx="2371266" cy="6325146"/>
          </a:xfrm>
        </p:spPr>
        <p:txBody>
          <a:bodyPr/>
          <a:lstStyle/>
          <a:p>
            <a:r>
              <a:rPr lang="en-US" altLang="ko-KR" dirty="0"/>
              <a:t>HOME</a:t>
            </a:r>
            <a:r>
              <a:rPr lang="ko-KR" altLang="en-US" dirty="0"/>
              <a:t>화면 상단 메뉴에서 </a:t>
            </a:r>
            <a:r>
              <a:rPr lang="en-US" altLang="ko-KR" dirty="0"/>
              <a:t>FAQ</a:t>
            </a:r>
            <a:r>
              <a:rPr lang="ko-KR" altLang="en-US" dirty="0"/>
              <a:t>를 클릭하거나</a:t>
            </a:r>
            <a:r>
              <a:rPr lang="en-US" altLang="ko-KR" dirty="0"/>
              <a:t>,</a:t>
            </a:r>
          </a:p>
          <a:p>
            <a:pPr>
              <a:spcBef>
                <a:spcPts val="200"/>
              </a:spcBef>
            </a:pPr>
            <a:r>
              <a:rPr lang="en-US" altLang="ko-KR" dirty="0"/>
              <a:t>HOME </a:t>
            </a:r>
            <a:r>
              <a:rPr lang="ko-KR" altLang="en-US" dirty="0"/>
              <a:t>화면 하단에서 </a:t>
            </a:r>
            <a:r>
              <a:rPr lang="en-US" altLang="ko-KR" dirty="0"/>
              <a:t>FAQ</a:t>
            </a:r>
            <a:r>
              <a:rPr lang="ko-KR" altLang="en-US" dirty="0"/>
              <a:t>를 클릭하면</a:t>
            </a:r>
            <a:r>
              <a:rPr lang="en-US" altLang="ko-KR" dirty="0"/>
              <a:t>,</a:t>
            </a:r>
          </a:p>
          <a:p>
            <a:pPr>
              <a:spcBef>
                <a:spcPts val="200"/>
              </a:spcBef>
            </a:pPr>
            <a:r>
              <a:rPr lang="en-US" altLang="ko-KR" dirty="0"/>
              <a:t>FAQ </a:t>
            </a:r>
            <a:r>
              <a:rPr lang="ko-KR" altLang="en-US" dirty="0"/>
              <a:t>하위의 카테고리와</a:t>
            </a:r>
            <a:r>
              <a:rPr lang="en-US" altLang="ko-KR" dirty="0"/>
              <a:t> </a:t>
            </a:r>
            <a:r>
              <a:rPr lang="ko-KR" altLang="en-US" dirty="0"/>
              <a:t>카테고리별 문서를 보여줍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FAQ </a:t>
            </a:r>
            <a:r>
              <a:rPr lang="ko-KR" altLang="en-US" dirty="0"/>
              <a:t>카테고리 </a:t>
            </a:r>
            <a:r>
              <a:rPr lang="en-US" altLang="ko-KR" dirty="0"/>
              <a:t>&amp; </a:t>
            </a:r>
            <a:r>
              <a:rPr lang="ko-KR" altLang="en-US" dirty="0"/>
              <a:t>문서</a:t>
            </a:r>
            <a:endParaRPr lang="en-US" altLang="ko-KR" dirty="0"/>
          </a:p>
          <a:p>
            <a:pPr marL="90488" indent="-9048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altLang="ko-KR" dirty="0"/>
              <a:t>FAQ </a:t>
            </a:r>
            <a:r>
              <a:rPr lang="ko-KR" altLang="en-US" dirty="0"/>
              <a:t>하위의 카테고리</a:t>
            </a:r>
            <a:r>
              <a:rPr lang="en-US" altLang="ko-KR" dirty="0"/>
              <a:t>(*) </a:t>
            </a:r>
            <a:r>
              <a:rPr lang="ko-KR" altLang="en-US" dirty="0"/>
              <a:t>목록과</a:t>
            </a:r>
            <a:r>
              <a:rPr lang="en-US" altLang="ko-KR" dirty="0"/>
              <a:t> </a:t>
            </a:r>
            <a:r>
              <a:rPr lang="ko-KR" altLang="en-US" dirty="0"/>
              <a:t>카테고리별 등록된 </a:t>
            </a:r>
            <a:r>
              <a:rPr lang="en-US" altLang="ko-KR" dirty="0"/>
              <a:t>FAQ </a:t>
            </a:r>
            <a:r>
              <a:rPr lang="ko-KR" altLang="en-US" dirty="0"/>
              <a:t>문서 목록을 보여줍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ko-KR" altLang="en-US" dirty="0"/>
              <a:t>문서는 최대 </a:t>
            </a:r>
            <a:r>
              <a:rPr lang="en-US" altLang="ko-KR" dirty="0"/>
              <a:t>6</a:t>
            </a:r>
            <a:r>
              <a:rPr lang="ko-KR" altLang="en-US" dirty="0"/>
              <a:t>개를 보여줍니다</a:t>
            </a:r>
            <a:r>
              <a:rPr lang="en-US" altLang="ko-KR" dirty="0"/>
              <a:t>.</a:t>
            </a:r>
          </a:p>
          <a:p>
            <a:pPr>
              <a:spcBef>
                <a:spcPts val="200"/>
              </a:spcBef>
            </a:pPr>
            <a:endParaRPr lang="en-US" altLang="ko-KR" dirty="0"/>
          </a:p>
          <a:p>
            <a:pPr>
              <a:spcBef>
                <a:spcPts val="200"/>
              </a:spcBef>
            </a:pPr>
            <a:r>
              <a:rPr lang="en-US" altLang="ko-KR" dirty="0"/>
              <a:t>(*) IT</a:t>
            </a:r>
            <a:r>
              <a:rPr lang="ko-KR" altLang="en-US" dirty="0"/>
              <a:t> </a:t>
            </a:r>
            <a:r>
              <a:rPr lang="en-US" altLang="ko-KR" dirty="0"/>
              <a:t>Helpdesk</a:t>
            </a:r>
            <a:r>
              <a:rPr lang="ko-KR" altLang="en-US" dirty="0"/>
              <a:t>에서는 </a:t>
            </a:r>
            <a:r>
              <a:rPr lang="en-US" altLang="ko-KR" dirty="0"/>
              <a:t>“</a:t>
            </a:r>
            <a:r>
              <a:rPr lang="ko-KR" altLang="en-US" dirty="0"/>
              <a:t>카테고리</a:t>
            </a:r>
            <a:r>
              <a:rPr lang="en-US" altLang="ko-KR" dirty="0"/>
              <a:t>”</a:t>
            </a:r>
            <a:r>
              <a:rPr lang="ko-KR" altLang="en-US" dirty="0"/>
              <a:t>를 </a:t>
            </a:r>
            <a:r>
              <a:rPr lang="en-US" altLang="ko-KR" dirty="0"/>
              <a:t>“</a:t>
            </a:r>
            <a:r>
              <a:rPr lang="ko-KR" altLang="en-US" dirty="0" err="1"/>
              <a:t>섹션＂이라고</a:t>
            </a:r>
            <a:r>
              <a:rPr lang="ko-KR" altLang="en-US" dirty="0"/>
              <a:t> 표현하기도 합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53" name="타원 52">
            <a:extLst>
              <a:ext uri="{FF2B5EF4-FFF2-40B4-BE49-F238E27FC236}">
                <a16:creationId xmlns:a16="http://schemas.microsoft.com/office/drawing/2014/main" id="{981096F5-E690-4764-85A6-AB491336780C}"/>
              </a:ext>
            </a:extLst>
          </p:cNvPr>
          <p:cNvSpPr/>
          <p:nvPr/>
        </p:nvSpPr>
        <p:spPr>
          <a:xfrm>
            <a:off x="7695569" y="826737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33" name="직선 연결선 32">
            <a:extLst>
              <a:ext uri="{FF2B5EF4-FFF2-40B4-BE49-F238E27FC236}">
                <a16:creationId xmlns:a16="http://schemas.microsoft.com/office/drawing/2014/main" id="{69DA76EA-8E56-48DD-9155-0E087C3A7CF4}"/>
              </a:ext>
            </a:extLst>
          </p:cNvPr>
          <p:cNvCxnSpPr>
            <a:cxnSpLocks/>
          </p:cNvCxnSpPr>
          <p:nvPr/>
        </p:nvCxnSpPr>
        <p:spPr>
          <a:xfrm>
            <a:off x="7636369" y="1433266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타원 33">
            <a:extLst>
              <a:ext uri="{FF2B5EF4-FFF2-40B4-BE49-F238E27FC236}">
                <a16:creationId xmlns:a16="http://schemas.microsoft.com/office/drawing/2014/main" id="{145106F6-6119-47FE-89A7-EF47AD2DB5ED}"/>
              </a:ext>
            </a:extLst>
          </p:cNvPr>
          <p:cNvSpPr/>
          <p:nvPr/>
        </p:nvSpPr>
        <p:spPr>
          <a:xfrm>
            <a:off x="7695569" y="1526682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pic>
        <p:nvPicPr>
          <p:cNvPr id="20" name="그림 19">
            <a:extLst>
              <a:ext uri="{FF2B5EF4-FFF2-40B4-BE49-F238E27FC236}">
                <a16:creationId xmlns:a16="http://schemas.microsoft.com/office/drawing/2014/main" id="{EE8E4114-7C3F-4F33-974B-6646113A4B5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6469"/>
          <a:stretch>
            <a:fillRect/>
          </a:stretch>
        </p:blipFill>
        <p:spPr>
          <a:xfrm>
            <a:off x="1106179" y="790728"/>
            <a:ext cx="4772025" cy="1451811"/>
          </a:xfrm>
          <a:custGeom>
            <a:avLst/>
            <a:gdLst>
              <a:gd name="connsiteX0" fmla="*/ 0 w 4772025"/>
              <a:gd name="connsiteY0" fmla="*/ 0 h 1451811"/>
              <a:gd name="connsiteX1" fmla="*/ 4772025 w 4772025"/>
              <a:gd name="connsiteY1" fmla="*/ 0 h 1451811"/>
              <a:gd name="connsiteX2" fmla="*/ 4772025 w 4772025"/>
              <a:gd name="connsiteY2" fmla="*/ 1410613 h 1451811"/>
              <a:gd name="connsiteX3" fmla="*/ 4766911 w 4772025"/>
              <a:gd name="connsiteY3" fmla="*/ 1408525 h 1451811"/>
              <a:gd name="connsiteX4" fmla="*/ 4166836 w 4772025"/>
              <a:gd name="connsiteY4" fmla="*/ 1203339 h 1451811"/>
              <a:gd name="connsiteX5" fmla="*/ 3585811 w 4772025"/>
              <a:gd name="connsiteY5" fmla="*/ 1430123 h 1451811"/>
              <a:gd name="connsiteX6" fmla="*/ 2957161 w 4772025"/>
              <a:gd name="connsiteY6" fmla="*/ 1224937 h 1451811"/>
              <a:gd name="connsiteX7" fmla="*/ 2376136 w 4772025"/>
              <a:gd name="connsiteY7" fmla="*/ 1440922 h 1451811"/>
              <a:gd name="connsiteX8" fmla="*/ 1785586 w 4772025"/>
              <a:gd name="connsiteY8" fmla="*/ 1181740 h 1451811"/>
              <a:gd name="connsiteX9" fmla="*/ 1223611 w 4772025"/>
              <a:gd name="connsiteY9" fmla="*/ 1451722 h 1451811"/>
              <a:gd name="connsiteX10" fmla="*/ 604486 w 4772025"/>
              <a:gd name="connsiteY10" fmla="*/ 1214138 h 1451811"/>
              <a:gd name="connsiteX11" fmla="*/ 4411 w 4772025"/>
              <a:gd name="connsiteY11" fmla="*/ 1440922 h 1451811"/>
              <a:gd name="connsiteX12" fmla="*/ 0 w 4772025"/>
              <a:gd name="connsiteY12" fmla="*/ 1442656 h 1451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772025" h="1451811">
                <a:moveTo>
                  <a:pt x="0" y="0"/>
                </a:moveTo>
                <a:lnTo>
                  <a:pt x="4772025" y="0"/>
                </a:lnTo>
                <a:lnTo>
                  <a:pt x="4772025" y="1410613"/>
                </a:lnTo>
                <a:lnTo>
                  <a:pt x="4766911" y="1408525"/>
                </a:lnTo>
                <a:cubicBezTo>
                  <a:pt x="4670074" y="1345529"/>
                  <a:pt x="4363686" y="1199739"/>
                  <a:pt x="4166836" y="1203339"/>
                </a:cubicBezTo>
                <a:cubicBezTo>
                  <a:pt x="3969986" y="1206938"/>
                  <a:pt x="3787423" y="1426523"/>
                  <a:pt x="3585811" y="1430123"/>
                </a:cubicBezTo>
                <a:cubicBezTo>
                  <a:pt x="3384199" y="1433723"/>
                  <a:pt x="3158773" y="1223138"/>
                  <a:pt x="2957161" y="1224937"/>
                </a:cubicBezTo>
                <a:cubicBezTo>
                  <a:pt x="2755549" y="1226736"/>
                  <a:pt x="2571398" y="1448122"/>
                  <a:pt x="2376136" y="1440922"/>
                </a:cubicBezTo>
                <a:cubicBezTo>
                  <a:pt x="2180874" y="1433723"/>
                  <a:pt x="1977673" y="1179941"/>
                  <a:pt x="1785586" y="1181740"/>
                </a:cubicBezTo>
                <a:cubicBezTo>
                  <a:pt x="1593499" y="1183539"/>
                  <a:pt x="1420461" y="1446322"/>
                  <a:pt x="1223611" y="1451722"/>
                </a:cubicBezTo>
                <a:cubicBezTo>
                  <a:pt x="1026761" y="1457121"/>
                  <a:pt x="807686" y="1215937"/>
                  <a:pt x="604486" y="1214138"/>
                </a:cubicBezTo>
                <a:cubicBezTo>
                  <a:pt x="401286" y="1212339"/>
                  <a:pt x="101248" y="1377927"/>
                  <a:pt x="4411" y="1440922"/>
                </a:cubicBezTo>
                <a:lnTo>
                  <a:pt x="0" y="1442656"/>
                </a:lnTo>
                <a:close/>
              </a:path>
            </a:pathLst>
          </a:cu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28A52ED6-7C76-410D-96DC-9602DFAB1F8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3250"/>
          <a:stretch/>
        </p:blipFill>
        <p:spPr>
          <a:xfrm>
            <a:off x="1106179" y="2823036"/>
            <a:ext cx="4772025" cy="897984"/>
          </a:xfrm>
          <a:custGeom>
            <a:avLst/>
            <a:gdLst>
              <a:gd name="connsiteX0" fmla="*/ 1223611 w 4772025"/>
              <a:gd name="connsiteY0" fmla="*/ 90 h 897984"/>
              <a:gd name="connsiteX1" fmla="*/ 1785586 w 4772025"/>
              <a:gd name="connsiteY1" fmla="*/ 270071 h 897984"/>
              <a:gd name="connsiteX2" fmla="*/ 2376136 w 4772025"/>
              <a:gd name="connsiteY2" fmla="*/ 10889 h 897984"/>
              <a:gd name="connsiteX3" fmla="*/ 2957161 w 4772025"/>
              <a:gd name="connsiteY3" fmla="*/ 226874 h 897984"/>
              <a:gd name="connsiteX4" fmla="*/ 3585811 w 4772025"/>
              <a:gd name="connsiteY4" fmla="*/ 21688 h 897984"/>
              <a:gd name="connsiteX5" fmla="*/ 4166836 w 4772025"/>
              <a:gd name="connsiteY5" fmla="*/ 248473 h 897984"/>
              <a:gd name="connsiteX6" fmla="*/ 4766911 w 4772025"/>
              <a:gd name="connsiteY6" fmla="*/ 43287 h 897984"/>
              <a:gd name="connsiteX7" fmla="*/ 4772025 w 4772025"/>
              <a:gd name="connsiteY7" fmla="*/ 41199 h 897984"/>
              <a:gd name="connsiteX8" fmla="*/ 4772025 w 4772025"/>
              <a:gd name="connsiteY8" fmla="*/ 897984 h 897984"/>
              <a:gd name="connsiteX9" fmla="*/ 0 w 4772025"/>
              <a:gd name="connsiteY9" fmla="*/ 897984 h 897984"/>
              <a:gd name="connsiteX10" fmla="*/ 0 w 4772025"/>
              <a:gd name="connsiteY10" fmla="*/ 9155 h 897984"/>
              <a:gd name="connsiteX11" fmla="*/ 4411 w 4772025"/>
              <a:gd name="connsiteY11" fmla="*/ 10889 h 897984"/>
              <a:gd name="connsiteX12" fmla="*/ 604486 w 4772025"/>
              <a:gd name="connsiteY12" fmla="*/ 237673 h 897984"/>
              <a:gd name="connsiteX13" fmla="*/ 1223611 w 4772025"/>
              <a:gd name="connsiteY13" fmla="*/ 90 h 8979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772025" h="897984">
                <a:moveTo>
                  <a:pt x="1223611" y="90"/>
                </a:moveTo>
                <a:cubicBezTo>
                  <a:pt x="1420461" y="5489"/>
                  <a:pt x="1593499" y="268272"/>
                  <a:pt x="1785586" y="270071"/>
                </a:cubicBezTo>
                <a:cubicBezTo>
                  <a:pt x="1977673" y="271870"/>
                  <a:pt x="2180874" y="18089"/>
                  <a:pt x="2376136" y="10889"/>
                </a:cubicBezTo>
                <a:cubicBezTo>
                  <a:pt x="2571398" y="3690"/>
                  <a:pt x="2755549" y="225075"/>
                  <a:pt x="2957161" y="226874"/>
                </a:cubicBezTo>
                <a:cubicBezTo>
                  <a:pt x="3158773" y="228673"/>
                  <a:pt x="3384199" y="18089"/>
                  <a:pt x="3585811" y="21688"/>
                </a:cubicBezTo>
                <a:cubicBezTo>
                  <a:pt x="3787423" y="25288"/>
                  <a:pt x="3969986" y="244873"/>
                  <a:pt x="4166836" y="248473"/>
                </a:cubicBezTo>
                <a:cubicBezTo>
                  <a:pt x="4363686" y="252072"/>
                  <a:pt x="4670074" y="106282"/>
                  <a:pt x="4766911" y="43287"/>
                </a:cubicBezTo>
                <a:lnTo>
                  <a:pt x="4772025" y="41199"/>
                </a:lnTo>
                <a:lnTo>
                  <a:pt x="4772025" y="897984"/>
                </a:lnTo>
                <a:lnTo>
                  <a:pt x="0" y="897984"/>
                </a:lnTo>
                <a:lnTo>
                  <a:pt x="0" y="9155"/>
                </a:lnTo>
                <a:lnTo>
                  <a:pt x="4411" y="10889"/>
                </a:lnTo>
                <a:cubicBezTo>
                  <a:pt x="101248" y="73884"/>
                  <a:pt x="401286" y="239473"/>
                  <a:pt x="604486" y="237673"/>
                </a:cubicBezTo>
                <a:cubicBezTo>
                  <a:pt x="807686" y="235874"/>
                  <a:pt x="1026761" y="-5309"/>
                  <a:pt x="1223611" y="90"/>
                </a:cubicBezTo>
                <a:close/>
              </a:path>
            </a:pathLst>
          </a:cu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" name="타원 21">
            <a:extLst>
              <a:ext uri="{FF2B5EF4-FFF2-40B4-BE49-F238E27FC236}">
                <a16:creationId xmlns:a16="http://schemas.microsoft.com/office/drawing/2014/main" id="{666F33EC-7EB5-4877-95E3-5D9E341C3A27}"/>
              </a:ext>
            </a:extLst>
          </p:cNvPr>
          <p:cNvSpPr/>
          <p:nvPr/>
        </p:nvSpPr>
        <p:spPr>
          <a:xfrm>
            <a:off x="4538970" y="790728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055A41F5-AF26-421F-A04E-ED073B7868E6}"/>
              </a:ext>
            </a:extLst>
          </p:cNvPr>
          <p:cNvSpPr/>
          <p:nvPr/>
        </p:nvSpPr>
        <p:spPr>
          <a:xfrm>
            <a:off x="4630446" y="867244"/>
            <a:ext cx="260507" cy="153032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693D6F91-DE3A-4385-A3A3-0E9A2A06D1CE}"/>
              </a:ext>
            </a:extLst>
          </p:cNvPr>
          <p:cNvSpPr/>
          <p:nvPr/>
        </p:nvSpPr>
        <p:spPr>
          <a:xfrm>
            <a:off x="1320319" y="3027125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25" name="사각형: 둥근 모서리 24">
            <a:extLst>
              <a:ext uri="{FF2B5EF4-FFF2-40B4-BE49-F238E27FC236}">
                <a16:creationId xmlns:a16="http://schemas.microsoft.com/office/drawing/2014/main" id="{9FCC74CB-2D2F-4E8C-8092-1DDB4E57BE15}"/>
              </a:ext>
            </a:extLst>
          </p:cNvPr>
          <p:cNvSpPr/>
          <p:nvPr/>
        </p:nvSpPr>
        <p:spPr>
          <a:xfrm>
            <a:off x="1396835" y="3120157"/>
            <a:ext cx="1477519" cy="623649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사다리꼴 28">
            <a:extLst>
              <a:ext uri="{FF2B5EF4-FFF2-40B4-BE49-F238E27FC236}">
                <a16:creationId xmlns:a16="http://schemas.microsoft.com/office/drawing/2014/main" id="{B88DEDF2-85C4-4A03-B477-EAAF8F3A854D}"/>
              </a:ext>
            </a:extLst>
          </p:cNvPr>
          <p:cNvSpPr/>
          <p:nvPr/>
        </p:nvSpPr>
        <p:spPr>
          <a:xfrm rot="5400000">
            <a:off x="4735721" y="2021577"/>
            <a:ext cx="2953078" cy="491380"/>
          </a:xfrm>
          <a:prstGeom prst="trapezoid">
            <a:avLst/>
          </a:prstGeom>
          <a:solidFill>
            <a:schemeClr val="bg1">
              <a:lumMod val="95000"/>
            </a:schemeClr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720216C-A96B-4822-91AA-E2CDEE98F555}"/>
              </a:ext>
            </a:extLst>
          </p:cNvPr>
          <p:cNvSpPr txBox="1"/>
          <p:nvPr/>
        </p:nvSpPr>
        <p:spPr>
          <a:xfrm>
            <a:off x="6033365" y="1774199"/>
            <a:ext cx="35779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H</a:t>
            </a:r>
          </a:p>
          <a:p>
            <a:pPr algn="ctr"/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O</a:t>
            </a:r>
          </a:p>
          <a:p>
            <a:pPr algn="ctr"/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M</a:t>
            </a:r>
          </a:p>
          <a:p>
            <a:pPr algn="ctr"/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E</a:t>
            </a:r>
            <a:endParaRPr lang="ko-KR" altLang="en-US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32" name="그림 31">
            <a:extLst>
              <a:ext uri="{FF2B5EF4-FFF2-40B4-BE49-F238E27FC236}">
                <a16:creationId xmlns:a16="http://schemas.microsoft.com/office/drawing/2014/main" id="{7BF14554-C666-4ACE-BF9F-DCFCE47713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73351" y="4922802"/>
            <a:ext cx="5592013" cy="176654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37" name="사각형: 둥근 모서리 36">
            <a:extLst>
              <a:ext uri="{FF2B5EF4-FFF2-40B4-BE49-F238E27FC236}">
                <a16:creationId xmlns:a16="http://schemas.microsoft.com/office/drawing/2014/main" id="{69D6092F-3960-4CCB-9FA5-1F104E56B578}"/>
              </a:ext>
            </a:extLst>
          </p:cNvPr>
          <p:cNvSpPr/>
          <p:nvPr/>
        </p:nvSpPr>
        <p:spPr>
          <a:xfrm>
            <a:off x="4733276" y="5333411"/>
            <a:ext cx="2371266" cy="1355931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8" name="타원 37">
            <a:extLst>
              <a:ext uri="{FF2B5EF4-FFF2-40B4-BE49-F238E27FC236}">
                <a16:creationId xmlns:a16="http://schemas.microsoft.com/office/drawing/2014/main" id="{6C33C72B-5FFC-4EAB-A093-42FCD459BFE1}"/>
              </a:ext>
            </a:extLst>
          </p:cNvPr>
          <p:cNvSpPr/>
          <p:nvPr/>
        </p:nvSpPr>
        <p:spPr>
          <a:xfrm>
            <a:off x="4656760" y="5229591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39" name="자유형: 도형 38">
            <a:extLst>
              <a:ext uri="{FF2B5EF4-FFF2-40B4-BE49-F238E27FC236}">
                <a16:creationId xmlns:a16="http://schemas.microsoft.com/office/drawing/2014/main" id="{0BF230C5-9EA4-41C4-9652-52EF183A9CBD}"/>
              </a:ext>
            </a:extLst>
          </p:cNvPr>
          <p:cNvSpPr/>
          <p:nvPr/>
        </p:nvSpPr>
        <p:spPr>
          <a:xfrm rot="2256415">
            <a:off x="1257981" y="3964195"/>
            <a:ext cx="608304" cy="664935"/>
          </a:xfrm>
          <a:custGeom>
            <a:avLst/>
            <a:gdLst>
              <a:gd name="connsiteX0" fmla="*/ 0 w 657380"/>
              <a:gd name="connsiteY0" fmla="*/ 0 h 684789"/>
              <a:gd name="connsiteX1" fmla="*/ 11037 w 657380"/>
              <a:gd name="connsiteY1" fmla="*/ 3668 h 684789"/>
              <a:gd name="connsiteX2" fmla="*/ 8532 w 657380"/>
              <a:gd name="connsiteY2" fmla="*/ 11573 h 684789"/>
              <a:gd name="connsiteX3" fmla="*/ 9280 w 657380"/>
              <a:gd name="connsiteY3" fmla="*/ 18674 h 684789"/>
              <a:gd name="connsiteX4" fmla="*/ 9281 w 657380"/>
              <a:gd name="connsiteY4" fmla="*/ 18674 h 684789"/>
              <a:gd name="connsiteX5" fmla="*/ 34683 w 657380"/>
              <a:gd name="connsiteY5" fmla="*/ 97656 h 684789"/>
              <a:gd name="connsiteX6" fmla="*/ 47126 w 657380"/>
              <a:gd name="connsiteY6" fmla="*/ 122140 h 684789"/>
              <a:gd name="connsiteX7" fmla="*/ 74579 w 657380"/>
              <a:gd name="connsiteY7" fmla="*/ 171743 h 684789"/>
              <a:gd name="connsiteX8" fmla="*/ 94082 w 657380"/>
              <a:gd name="connsiteY8" fmla="*/ 198437 h 684789"/>
              <a:gd name="connsiteX9" fmla="*/ 127971 w 657380"/>
              <a:gd name="connsiteY9" fmla="*/ 239850 h 684789"/>
              <a:gd name="connsiteX10" fmla="*/ 153059 w 657380"/>
              <a:gd name="connsiteY10" fmla="*/ 265146 h 684789"/>
              <a:gd name="connsiteX11" fmla="*/ 194020 w 657380"/>
              <a:gd name="connsiteY11" fmla="*/ 300926 h 684789"/>
              <a:gd name="connsiteX12" fmla="*/ 223423 w 657380"/>
              <a:gd name="connsiteY12" fmla="*/ 323210 h 684789"/>
              <a:gd name="connsiteX13" fmla="*/ 272343 w 657380"/>
              <a:gd name="connsiteY13" fmla="*/ 354011 h 684789"/>
              <a:gd name="connsiteX14" fmla="*/ 304229 w 657380"/>
              <a:gd name="connsiteY14" fmla="*/ 372058 h 684789"/>
              <a:gd name="connsiteX15" fmla="*/ 364466 w 657380"/>
              <a:gd name="connsiteY15" fmla="*/ 398536 h 684789"/>
              <a:gd name="connsiteX16" fmla="*/ 394452 w 657380"/>
              <a:gd name="connsiteY16" fmla="*/ 410763 h 684789"/>
              <a:gd name="connsiteX17" fmla="*/ 493035 w 657380"/>
              <a:gd name="connsiteY17" fmla="*/ 438272 h 684789"/>
              <a:gd name="connsiteX18" fmla="*/ 493035 w 657380"/>
              <a:gd name="connsiteY18" fmla="*/ 356099 h 684789"/>
              <a:gd name="connsiteX19" fmla="*/ 657380 w 657380"/>
              <a:gd name="connsiteY19" fmla="*/ 537091 h 684789"/>
              <a:gd name="connsiteX20" fmla="*/ 493035 w 657380"/>
              <a:gd name="connsiteY20" fmla="*/ 684789 h 684789"/>
              <a:gd name="connsiteX21" fmla="*/ 493035 w 657380"/>
              <a:gd name="connsiteY21" fmla="*/ 602617 h 684789"/>
              <a:gd name="connsiteX22" fmla="*/ 293551 w 657380"/>
              <a:gd name="connsiteY22" fmla="*/ 531710 h 684789"/>
              <a:gd name="connsiteX23" fmla="*/ 0 w 657380"/>
              <a:gd name="connsiteY23" fmla="*/ 95025 h 684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57380" h="684789">
                <a:moveTo>
                  <a:pt x="0" y="0"/>
                </a:moveTo>
                <a:lnTo>
                  <a:pt x="11037" y="3668"/>
                </a:lnTo>
                <a:lnTo>
                  <a:pt x="8532" y="11573"/>
                </a:lnTo>
                <a:lnTo>
                  <a:pt x="9280" y="18674"/>
                </a:lnTo>
                <a:lnTo>
                  <a:pt x="9281" y="18674"/>
                </a:lnTo>
                <a:lnTo>
                  <a:pt x="34683" y="97656"/>
                </a:lnTo>
                <a:lnTo>
                  <a:pt x="47126" y="122140"/>
                </a:lnTo>
                <a:lnTo>
                  <a:pt x="74579" y="171743"/>
                </a:lnTo>
                <a:lnTo>
                  <a:pt x="94082" y="198437"/>
                </a:lnTo>
                <a:lnTo>
                  <a:pt x="127971" y="239850"/>
                </a:lnTo>
                <a:lnTo>
                  <a:pt x="153059" y="265146"/>
                </a:lnTo>
                <a:lnTo>
                  <a:pt x="194020" y="300926"/>
                </a:lnTo>
                <a:lnTo>
                  <a:pt x="223423" y="323210"/>
                </a:lnTo>
                <a:lnTo>
                  <a:pt x="272343" y="354011"/>
                </a:lnTo>
                <a:lnTo>
                  <a:pt x="304229" y="372058"/>
                </a:lnTo>
                <a:lnTo>
                  <a:pt x="364466" y="398536"/>
                </a:lnTo>
                <a:lnTo>
                  <a:pt x="394452" y="410763"/>
                </a:lnTo>
                <a:lnTo>
                  <a:pt x="493035" y="438272"/>
                </a:lnTo>
                <a:lnTo>
                  <a:pt x="493035" y="356099"/>
                </a:lnTo>
                <a:lnTo>
                  <a:pt x="657380" y="537091"/>
                </a:lnTo>
                <a:lnTo>
                  <a:pt x="493035" y="684789"/>
                </a:lnTo>
                <a:lnTo>
                  <a:pt x="493035" y="602617"/>
                </a:lnTo>
                <a:cubicBezTo>
                  <a:pt x="420474" y="587676"/>
                  <a:pt x="353379" y="563422"/>
                  <a:pt x="293551" y="531710"/>
                </a:cubicBezTo>
                <a:cubicBezTo>
                  <a:pt x="114069" y="436573"/>
                  <a:pt x="0" y="274314"/>
                  <a:pt x="0" y="9502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85741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>
            <a:extLst>
              <a:ext uri="{FF2B5EF4-FFF2-40B4-BE49-F238E27FC236}">
                <a16:creationId xmlns:a16="http://schemas.microsoft.com/office/drawing/2014/main" id="{C10554DC-594F-4FB8-A91D-D3486F7BC4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4546" y="4324303"/>
            <a:ext cx="4412179" cy="2573330"/>
          </a:xfrm>
          <a:prstGeom prst="rect">
            <a:avLst/>
          </a:prstGeom>
        </p:spPr>
      </p:pic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A2E573C3-2E07-46DC-A484-81B345FA4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48389E4-9BF2-437B-83E2-FE8E6CF2D9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GUIDE-HOME-03</a:t>
            </a:r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94AC05BA-9838-4A6E-9C97-DDDB7EFEA7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메뉴얼</a:t>
            </a:r>
          </a:p>
        </p:txBody>
      </p:sp>
      <p:sp>
        <p:nvSpPr>
          <p:cNvPr id="45" name="텍스트 개체 틀 25">
            <a:extLst>
              <a:ext uri="{FF2B5EF4-FFF2-40B4-BE49-F238E27FC236}">
                <a16:creationId xmlns:a16="http://schemas.microsoft.com/office/drawing/2014/main" id="{D6608DD2-183F-4BB9-A9B4-10047D29D1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16423" y="738537"/>
            <a:ext cx="2371266" cy="6325146"/>
          </a:xfrm>
        </p:spPr>
        <p:txBody>
          <a:bodyPr/>
          <a:lstStyle/>
          <a:p>
            <a:r>
              <a:rPr lang="en-US" altLang="ko-KR" dirty="0"/>
              <a:t>HOME</a:t>
            </a:r>
            <a:r>
              <a:rPr lang="ko-KR" altLang="en-US" dirty="0"/>
              <a:t>화면 상단 메뉴에서 매뉴얼을 클릭하거나</a:t>
            </a:r>
            <a:r>
              <a:rPr lang="en-US" altLang="ko-KR" dirty="0"/>
              <a:t>,</a:t>
            </a:r>
          </a:p>
          <a:p>
            <a:pPr>
              <a:spcBef>
                <a:spcPts val="200"/>
              </a:spcBef>
            </a:pPr>
            <a:r>
              <a:rPr lang="en-US" altLang="ko-KR" dirty="0"/>
              <a:t>HOME </a:t>
            </a:r>
            <a:r>
              <a:rPr lang="ko-KR" altLang="en-US" dirty="0"/>
              <a:t>화면 하단에서 매뉴얼을 클릭하면</a:t>
            </a:r>
            <a:r>
              <a:rPr lang="en-US" altLang="ko-KR" dirty="0"/>
              <a:t>,</a:t>
            </a:r>
          </a:p>
          <a:p>
            <a:pPr>
              <a:spcBef>
                <a:spcPts val="200"/>
              </a:spcBef>
            </a:pPr>
            <a:r>
              <a:rPr lang="ko-KR" altLang="en-US" dirty="0"/>
              <a:t>매뉴얼 하위의</a:t>
            </a:r>
            <a:r>
              <a:rPr lang="en-US" altLang="ko-KR" dirty="0"/>
              <a:t> </a:t>
            </a:r>
            <a:r>
              <a:rPr lang="ko-KR" altLang="en-US" dirty="0"/>
              <a:t>카테고리와</a:t>
            </a:r>
            <a:r>
              <a:rPr lang="en-US" altLang="ko-KR" dirty="0"/>
              <a:t> </a:t>
            </a:r>
            <a:r>
              <a:rPr lang="ko-KR" altLang="en-US" dirty="0"/>
              <a:t>카테고리별 문서를 보여줍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매뉴얼</a:t>
            </a:r>
            <a:r>
              <a:rPr lang="en-US" altLang="ko-KR" dirty="0"/>
              <a:t> </a:t>
            </a:r>
            <a:r>
              <a:rPr lang="ko-KR" altLang="en-US" dirty="0"/>
              <a:t>카테고리 </a:t>
            </a:r>
            <a:r>
              <a:rPr lang="en-US" altLang="ko-KR" dirty="0"/>
              <a:t>&amp; </a:t>
            </a:r>
            <a:r>
              <a:rPr lang="ko-KR" altLang="en-US" dirty="0"/>
              <a:t>문서</a:t>
            </a:r>
            <a:endParaRPr lang="en-US" altLang="ko-KR" dirty="0"/>
          </a:p>
          <a:p>
            <a:pPr marL="90488" indent="-9048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ko-KR" altLang="en-US" dirty="0"/>
              <a:t>매뉴얼</a:t>
            </a:r>
            <a:r>
              <a:rPr lang="en-US" altLang="ko-KR" dirty="0"/>
              <a:t> </a:t>
            </a:r>
            <a:r>
              <a:rPr lang="ko-KR" altLang="en-US" dirty="0"/>
              <a:t>하위의 카테고리</a:t>
            </a:r>
            <a:r>
              <a:rPr lang="en-US" altLang="ko-KR" dirty="0"/>
              <a:t> </a:t>
            </a:r>
            <a:r>
              <a:rPr lang="ko-KR" altLang="en-US" dirty="0"/>
              <a:t>목록과</a:t>
            </a:r>
            <a:r>
              <a:rPr lang="en-US" altLang="ko-KR" dirty="0"/>
              <a:t> </a:t>
            </a:r>
            <a:r>
              <a:rPr lang="ko-KR" altLang="en-US" dirty="0"/>
              <a:t>카테고리별 등록된 매뉴얼</a:t>
            </a:r>
            <a:r>
              <a:rPr lang="en-US" altLang="ko-KR" dirty="0"/>
              <a:t> </a:t>
            </a:r>
            <a:r>
              <a:rPr lang="ko-KR" altLang="en-US" dirty="0"/>
              <a:t>문서 목록을 보여줍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ko-KR" altLang="en-US" dirty="0"/>
              <a:t>문서는 최대 </a:t>
            </a:r>
            <a:r>
              <a:rPr lang="en-US" altLang="ko-KR" dirty="0"/>
              <a:t>6</a:t>
            </a:r>
            <a:r>
              <a:rPr lang="ko-KR" altLang="en-US" dirty="0"/>
              <a:t>개를 보여줍니다</a:t>
            </a:r>
            <a:r>
              <a:rPr lang="en-US" altLang="ko-KR" dirty="0"/>
              <a:t>.</a:t>
            </a:r>
          </a:p>
        </p:txBody>
      </p:sp>
      <p:cxnSp>
        <p:nvCxnSpPr>
          <p:cNvPr id="47" name="직선 연결선 46">
            <a:extLst>
              <a:ext uri="{FF2B5EF4-FFF2-40B4-BE49-F238E27FC236}">
                <a16:creationId xmlns:a16="http://schemas.microsoft.com/office/drawing/2014/main" id="{C899F4C7-49EE-4B91-8165-E804D9A3F730}"/>
              </a:ext>
            </a:extLst>
          </p:cNvPr>
          <p:cNvCxnSpPr>
            <a:cxnSpLocks/>
          </p:cNvCxnSpPr>
          <p:nvPr/>
        </p:nvCxnSpPr>
        <p:spPr>
          <a:xfrm>
            <a:off x="7636369" y="1440150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타원 52">
            <a:extLst>
              <a:ext uri="{FF2B5EF4-FFF2-40B4-BE49-F238E27FC236}">
                <a16:creationId xmlns:a16="http://schemas.microsoft.com/office/drawing/2014/main" id="{981096F5-E690-4764-85A6-AB491336780C}"/>
              </a:ext>
            </a:extLst>
          </p:cNvPr>
          <p:cNvSpPr/>
          <p:nvPr/>
        </p:nvSpPr>
        <p:spPr>
          <a:xfrm>
            <a:off x="7699880" y="808567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54" name="타원 53">
            <a:extLst>
              <a:ext uri="{FF2B5EF4-FFF2-40B4-BE49-F238E27FC236}">
                <a16:creationId xmlns:a16="http://schemas.microsoft.com/office/drawing/2014/main" id="{FF870025-4A4D-4D3D-A9E2-775F6BDA6D25}"/>
              </a:ext>
            </a:extLst>
          </p:cNvPr>
          <p:cNvSpPr/>
          <p:nvPr/>
        </p:nvSpPr>
        <p:spPr>
          <a:xfrm>
            <a:off x="7710370" y="1541534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969DCF39-C398-4702-A261-9031BF0B8FC3}"/>
              </a:ext>
            </a:extLst>
          </p:cNvPr>
          <p:cNvSpPr/>
          <p:nvPr/>
        </p:nvSpPr>
        <p:spPr>
          <a:xfrm>
            <a:off x="1869417" y="464978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29" name="사각형: 둥근 모서리 28">
            <a:extLst>
              <a:ext uri="{FF2B5EF4-FFF2-40B4-BE49-F238E27FC236}">
                <a16:creationId xmlns:a16="http://schemas.microsoft.com/office/drawing/2014/main" id="{D05508EF-0BC5-4691-A681-428DA61733B6}"/>
              </a:ext>
            </a:extLst>
          </p:cNvPr>
          <p:cNvSpPr/>
          <p:nvPr/>
        </p:nvSpPr>
        <p:spPr>
          <a:xfrm>
            <a:off x="2005973" y="4717721"/>
            <a:ext cx="1549698" cy="830044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98CB1E28-64BC-48FC-8266-84EFBDA7243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6469"/>
          <a:stretch>
            <a:fillRect/>
          </a:stretch>
        </p:blipFill>
        <p:spPr>
          <a:xfrm>
            <a:off x="1106179" y="790728"/>
            <a:ext cx="4772025" cy="1451811"/>
          </a:xfrm>
          <a:custGeom>
            <a:avLst/>
            <a:gdLst>
              <a:gd name="connsiteX0" fmla="*/ 0 w 4772025"/>
              <a:gd name="connsiteY0" fmla="*/ 0 h 1451811"/>
              <a:gd name="connsiteX1" fmla="*/ 4772025 w 4772025"/>
              <a:gd name="connsiteY1" fmla="*/ 0 h 1451811"/>
              <a:gd name="connsiteX2" fmla="*/ 4772025 w 4772025"/>
              <a:gd name="connsiteY2" fmla="*/ 1410613 h 1451811"/>
              <a:gd name="connsiteX3" fmla="*/ 4766911 w 4772025"/>
              <a:gd name="connsiteY3" fmla="*/ 1408525 h 1451811"/>
              <a:gd name="connsiteX4" fmla="*/ 4166836 w 4772025"/>
              <a:gd name="connsiteY4" fmla="*/ 1203339 h 1451811"/>
              <a:gd name="connsiteX5" fmla="*/ 3585811 w 4772025"/>
              <a:gd name="connsiteY5" fmla="*/ 1430123 h 1451811"/>
              <a:gd name="connsiteX6" fmla="*/ 2957161 w 4772025"/>
              <a:gd name="connsiteY6" fmla="*/ 1224937 h 1451811"/>
              <a:gd name="connsiteX7" fmla="*/ 2376136 w 4772025"/>
              <a:gd name="connsiteY7" fmla="*/ 1440922 h 1451811"/>
              <a:gd name="connsiteX8" fmla="*/ 1785586 w 4772025"/>
              <a:gd name="connsiteY8" fmla="*/ 1181740 h 1451811"/>
              <a:gd name="connsiteX9" fmla="*/ 1223611 w 4772025"/>
              <a:gd name="connsiteY9" fmla="*/ 1451722 h 1451811"/>
              <a:gd name="connsiteX10" fmla="*/ 604486 w 4772025"/>
              <a:gd name="connsiteY10" fmla="*/ 1214138 h 1451811"/>
              <a:gd name="connsiteX11" fmla="*/ 4411 w 4772025"/>
              <a:gd name="connsiteY11" fmla="*/ 1440922 h 1451811"/>
              <a:gd name="connsiteX12" fmla="*/ 0 w 4772025"/>
              <a:gd name="connsiteY12" fmla="*/ 1442656 h 1451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772025" h="1451811">
                <a:moveTo>
                  <a:pt x="0" y="0"/>
                </a:moveTo>
                <a:lnTo>
                  <a:pt x="4772025" y="0"/>
                </a:lnTo>
                <a:lnTo>
                  <a:pt x="4772025" y="1410613"/>
                </a:lnTo>
                <a:lnTo>
                  <a:pt x="4766911" y="1408525"/>
                </a:lnTo>
                <a:cubicBezTo>
                  <a:pt x="4670074" y="1345529"/>
                  <a:pt x="4363686" y="1199739"/>
                  <a:pt x="4166836" y="1203339"/>
                </a:cubicBezTo>
                <a:cubicBezTo>
                  <a:pt x="3969986" y="1206938"/>
                  <a:pt x="3787423" y="1426523"/>
                  <a:pt x="3585811" y="1430123"/>
                </a:cubicBezTo>
                <a:cubicBezTo>
                  <a:pt x="3384199" y="1433723"/>
                  <a:pt x="3158773" y="1223138"/>
                  <a:pt x="2957161" y="1224937"/>
                </a:cubicBezTo>
                <a:cubicBezTo>
                  <a:pt x="2755549" y="1226736"/>
                  <a:pt x="2571398" y="1448122"/>
                  <a:pt x="2376136" y="1440922"/>
                </a:cubicBezTo>
                <a:cubicBezTo>
                  <a:pt x="2180874" y="1433723"/>
                  <a:pt x="1977673" y="1179941"/>
                  <a:pt x="1785586" y="1181740"/>
                </a:cubicBezTo>
                <a:cubicBezTo>
                  <a:pt x="1593499" y="1183539"/>
                  <a:pt x="1420461" y="1446322"/>
                  <a:pt x="1223611" y="1451722"/>
                </a:cubicBezTo>
                <a:cubicBezTo>
                  <a:pt x="1026761" y="1457121"/>
                  <a:pt x="807686" y="1215937"/>
                  <a:pt x="604486" y="1214138"/>
                </a:cubicBezTo>
                <a:cubicBezTo>
                  <a:pt x="401286" y="1212339"/>
                  <a:pt x="101248" y="1377927"/>
                  <a:pt x="4411" y="1440922"/>
                </a:cubicBezTo>
                <a:lnTo>
                  <a:pt x="0" y="1442656"/>
                </a:lnTo>
                <a:close/>
              </a:path>
            </a:pathLst>
          </a:cu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F5ADF028-9742-4DEF-9F93-54A2E7C485F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63250"/>
          <a:stretch/>
        </p:blipFill>
        <p:spPr>
          <a:xfrm>
            <a:off x="1106179" y="2823036"/>
            <a:ext cx="4772025" cy="897984"/>
          </a:xfrm>
          <a:custGeom>
            <a:avLst/>
            <a:gdLst>
              <a:gd name="connsiteX0" fmla="*/ 1223611 w 4772025"/>
              <a:gd name="connsiteY0" fmla="*/ 90 h 897984"/>
              <a:gd name="connsiteX1" fmla="*/ 1785586 w 4772025"/>
              <a:gd name="connsiteY1" fmla="*/ 270071 h 897984"/>
              <a:gd name="connsiteX2" fmla="*/ 2376136 w 4772025"/>
              <a:gd name="connsiteY2" fmla="*/ 10889 h 897984"/>
              <a:gd name="connsiteX3" fmla="*/ 2957161 w 4772025"/>
              <a:gd name="connsiteY3" fmla="*/ 226874 h 897984"/>
              <a:gd name="connsiteX4" fmla="*/ 3585811 w 4772025"/>
              <a:gd name="connsiteY4" fmla="*/ 21688 h 897984"/>
              <a:gd name="connsiteX5" fmla="*/ 4166836 w 4772025"/>
              <a:gd name="connsiteY5" fmla="*/ 248473 h 897984"/>
              <a:gd name="connsiteX6" fmla="*/ 4766911 w 4772025"/>
              <a:gd name="connsiteY6" fmla="*/ 43287 h 897984"/>
              <a:gd name="connsiteX7" fmla="*/ 4772025 w 4772025"/>
              <a:gd name="connsiteY7" fmla="*/ 41199 h 897984"/>
              <a:gd name="connsiteX8" fmla="*/ 4772025 w 4772025"/>
              <a:gd name="connsiteY8" fmla="*/ 897984 h 897984"/>
              <a:gd name="connsiteX9" fmla="*/ 0 w 4772025"/>
              <a:gd name="connsiteY9" fmla="*/ 897984 h 897984"/>
              <a:gd name="connsiteX10" fmla="*/ 0 w 4772025"/>
              <a:gd name="connsiteY10" fmla="*/ 9155 h 897984"/>
              <a:gd name="connsiteX11" fmla="*/ 4411 w 4772025"/>
              <a:gd name="connsiteY11" fmla="*/ 10889 h 897984"/>
              <a:gd name="connsiteX12" fmla="*/ 604486 w 4772025"/>
              <a:gd name="connsiteY12" fmla="*/ 237673 h 897984"/>
              <a:gd name="connsiteX13" fmla="*/ 1223611 w 4772025"/>
              <a:gd name="connsiteY13" fmla="*/ 90 h 8979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772025" h="897984">
                <a:moveTo>
                  <a:pt x="1223611" y="90"/>
                </a:moveTo>
                <a:cubicBezTo>
                  <a:pt x="1420461" y="5489"/>
                  <a:pt x="1593499" y="268272"/>
                  <a:pt x="1785586" y="270071"/>
                </a:cubicBezTo>
                <a:cubicBezTo>
                  <a:pt x="1977673" y="271870"/>
                  <a:pt x="2180874" y="18089"/>
                  <a:pt x="2376136" y="10889"/>
                </a:cubicBezTo>
                <a:cubicBezTo>
                  <a:pt x="2571398" y="3690"/>
                  <a:pt x="2755549" y="225075"/>
                  <a:pt x="2957161" y="226874"/>
                </a:cubicBezTo>
                <a:cubicBezTo>
                  <a:pt x="3158773" y="228673"/>
                  <a:pt x="3384199" y="18089"/>
                  <a:pt x="3585811" y="21688"/>
                </a:cubicBezTo>
                <a:cubicBezTo>
                  <a:pt x="3787423" y="25288"/>
                  <a:pt x="3969986" y="244873"/>
                  <a:pt x="4166836" y="248473"/>
                </a:cubicBezTo>
                <a:cubicBezTo>
                  <a:pt x="4363686" y="252072"/>
                  <a:pt x="4670074" y="106282"/>
                  <a:pt x="4766911" y="43287"/>
                </a:cubicBezTo>
                <a:lnTo>
                  <a:pt x="4772025" y="41199"/>
                </a:lnTo>
                <a:lnTo>
                  <a:pt x="4772025" y="897984"/>
                </a:lnTo>
                <a:lnTo>
                  <a:pt x="0" y="897984"/>
                </a:lnTo>
                <a:lnTo>
                  <a:pt x="0" y="9155"/>
                </a:lnTo>
                <a:lnTo>
                  <a:pt x="4411" y="10889"/>
                </a:lnTo>
                <a:cubicBezTo>
                  <a:pt x="101248" y="73884"/>
                  <a:pt x="401286" y="239473"/>
                  <a:pt x="604486" y="237673"/>
                </a:cubicBezTo>
                <a:cubicBezTo>
                  <a:pt x="807686" y="235874"/>
                  <a:pt x="1026761" y="-5309"/>
                  <a:pt x="1223611" y="90"/>
                </a:cubicBezTo>
                <a:close/>
              </a:path>
            </a:pathLst>
          </a:cu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31" name="타원 30">
            <a:extLst>
              <a:ext uri="{FF2B5EF4-FFF2-40B4-BE49-F238E27FC236}">
                <a16:creationId xmlns:a16="http://schemas.microsoft.com/office/drawing/2014/main" id="{F92C2B22-B016-4977-8886-9BD849390696}"/>
              </a:ext>
            </a:extLst>
          </p:cNvPr>
          <p:cNvSpPr/>
          <p:nvPr/>
        </p:nvSpPr>
        <p:spPr>
          <a:xfrm>
            <a:off x="5169614" y="790728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32" name="사각형: 둥근 모서리 31">
            <a:extLst>
              <a:ext uri="{FF2B5EF4-FFF2-40B4-BE49-F238E27FC236}">
                <a16:creationId xmlns:a16="http://schemas.microsoft.com/office/drawing/2014/main" id="{C8C5CBF0-061E-4843-818B-DBEF82618607}"/>
              </a:ext>
            </a:extLst>
          </p:cNvPr>
          <p:cNvSpPr/>
          <p:nvPr/>
        </p:nvSpPr>
        <p:spPr>
          <a:xfrm>
            <a:off x="5261090" y="867244"/>
            <a:ext cx="260507" cy="153032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타원 32">
            <a:extLst>
              <a:ext uri="{FF2B5EF4-FFF2-40B4-BE49-F238E27FC236}">
                <a16:creationId xmlns:a16="http://schemas.microsoft.com/office/drawing/2014/main" id="{2BE73B3D-D881-44BB-9251-61DDDFD4E304}"/>
              </a:ext>
            </a:extLst>
          </p:cNvPr>
          <p:cNvSpPr/>
          <p:nvPr/>
        </p:nvSpPr>
        <p:spPr>
          <a:xfrm>
            <a:off x="2630146" y="3027125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34" name="사각형: 둥근 모서리 33">
            <a:extLst>
              <a:ext uri="{FF2B5EF4-FFF2-40B4-BE49-F238E27FC236}">
                <a16:creationId xmlns:a16="http://schemas.microsoft.com/office/drawing/2014/main" id="{D9731387-1228-4278-BA4D-BEE9D7FC314E}"/>
              </a:ext>
            </a:extLst>
          </p:cNvPr>
          <p:cNvSpPr/>
          <p:nvPr/>
        </p:nvSpPr>
        <p:spPr>
          <a:xfrm>
            <a:off x="2706662" y="3120157"/>
            <a:ext cx="1477519" cy="623649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사다리꼴 34">
            <a:extLst>
              <a:ext uri="{FF2B5EF4-FFF2-40B4-BE49-F238E27FC236}">
                <a16:creationId xmlns:a16="http://schemas.microsoft.com/office/drawing/2014/main" id="{88ED5B27-3B71-47CA-AF95-5CC7BBF5A7CC}"/>
              </a:ext>
            </a:extLst>
          </p:cNvPr>
          <p:cNvSpPr/>
          <p:nvPr/>
        </p:nvSpPr>
        <p:spPr>
          <a:xfrm rot="5400000">
            <a:off x="4735721" y="2021577"/>
            <a:ext cx="2953078" cy="491380"/>
          </a:xfrm>
          <a:prstGeom prst="trapezoid">
            <a:avLst/>
          </a:prstGeom>
          <a:solidFill>
            <a:schemeClr val="bg1">
              <a:lumMod val="95000"/>
            </a:schemeClr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4DA69FD-6749-4F29-8A7B-664E59773766}"/>
              </a:ext>
            </a:extLst>
          </p:cNvPr>
          <p:cNvSpPr txBox="1"/>
          <p:nvPr/>
        </p:nvSpPr>
        <p:spPr>
          <a:xfrm>
            <a:off x="6033365" y="1774199"/>
            <a:ext cx="35779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H</a:t>
            </a:r>
          </a:p>
          <a:p>
            <a:pPr algn="ctr"/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O</a:t>
            </a:r>
          </a:p>
          <a:p>
            <a:pPr algn="ctr"/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M</a:t>
            </a:r>
          </a:p>
          <a:p>
            <a:pPr algn="ctr"/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E</a:t>
            </a:r>
            <a:endParaRPr lang="ko-KR" altLang="en-US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7" name="자유형: 도형 36">
            <a:extLst>
              <a:ext uri="{FF2B5EF4-FFF2-40B4-BE49-F238E27FC236}">
                <a16:creationId xmlns:a16="http://schemas.microsoft.com/office/drawing/2014/main" id="{BA3EBDE8-2DC8-42E5-9253-515DC88219A0}"/>
              </a:ext>
            </a:extLst>
          </p:cNvPr>
          <p:cNvSpPr/>
          <p:nvPr/>
        </p:nvSpPr>
        <p:spPr>
          <a:xfrm rot="2256415">
            <a:off x="1257981" y="3964195"/>
            <a:ext cx="608304" cy="664935"/>
          </a:xfrm>
          <a:custGeom>
            <a:avLst/>
            <a:gdLst>
              <a:gd name="connsiteX0" fmla="*/ 0 w 657380"/>
              <a:gd name="connsiteY0" fmla="*/ 0 h 684789"/>
              <a:gd name="connsiteX1" fmla="*/ 11037 w 657380"/>
              <a:gd name="connsiteY1" fmla="*/ 3668 h 684789"/>
              <a:gd name="connsiteX2" fmla="*/ 8532 w 657380"/>
              <a:gd name="connsiteY2" fmla="*/ 11573 h 684789"/>
              <a:gd name="connsiteX3" fmla="*/ 9280 w 657380"/>
              <a:gd name="connsiteY3" fmla="*/ 18674 h 684789"/>
              <a:gd name="connsiteX4" fmla="*/ 9281 w 657380"/>
              <a:gd name="connsiteY4" fmla="*/ 18674 h 684789"/>
              <a:gd name="connsiteX5" fmla="*/ 34683 w 657380"/>
              <a:gd name="connsiteY5" fmla="*/ 97656 h 684789"/>
              <a:gd name="connsiteX6" fmla="*/ 47126 w 657380"/>
              <a:gd name="connsiteY6" fmla="*/ 122140 h 684789"/>
              <a:gd name="connsiteX7" fmla="*/ 74579 w 657380"/>
              <a:gd name="connsiteY7" fmla="*/ 171743 h 684789"/>
              <a:gd name="connsiteX8" fmla="*/ 94082 w 657380"/>
              <a:gd name="connsiteY8" fmla="*/ 198437 h 684789"/>
              <a:gd name="connsiteX9" fmla="*/ 127971 w 657380"/>
              <a:gd name="connsiteY9" fmla="*/ 239850 h 684789"/>
              <a:gd name="connsiteX10" fmla="*/ 153059 w 657380"/>
              <a:gd name="connsiteY10" fmla="*/ 265146 h 684789"/>
              <a:gd name="connsiteX11" fmla="*/ 194020 w 657380"/>
              <a:gd name="connsiteY11" fmla="*/ 300926 h 684789"/>
              <a:gd name="connsiteX12" fmla="*/ 223423 w 657380"/>
              <a:gd name="connsiteY12" fmla="*/ 323210 h 684789"/>
              <a:gd name="connsiteX13" fmla="*/ 272343 w 657380"/>
              <a:gd name="connsiteY13" fmla="*/ 354011 h 684789"/>
              <a:gd name="connsiteX14" fmla="*/ 304229 w 657380"/>
              <a:gd name="connsiteY14" fmla="*/ 372058 h 684789"/>
              <a:gd name="connsiteX15" fmla="*/ 364466 w 657380"/>
              <a:gd name="connsiteY15" fmla="*/ 398536 h 684789"/>
              <a:gd name="connsiteX16" fmla="*/ 394452 w 657380"/>
              <a:gd name="connsiteY16" fmla="*/ 410763 h 684789"/>
              <a:gd name="connsiteX17" fmla="*/ 493035 w 657380"/>
              <a:gd name="connsiteY17" fmla="*/ 438272 h 684789"/>
              <a:gd name="connsiteX18" fmla="*/ 493035 w 657380"/>
              <a:gd name="connsiteY18" fmla="*/ 356099 h 684789"/>
              <a:gd name="connsiteX19" fmla="*/ 657380 w 657380"/>
              <a:gd name="connsiteY19" fmla="*/ 537091 h 684789"/>
              <a:gd name="connsiteX20" fmla="*/ 493035 w 657380"/>
              <a:gd name="connsiteY20" fmla="*/ 684789 h 684789"/>
              <a:gd name="connsiteX21" fmla="*/ 493035 w 657380"/>
              <a:gd name="connsiteY21" fmla="*/ 602617 h 684789"/>
              <a:gd name="connsiteX22" fmla="*/ 293551 w 657380"/>
              <a:gd name="connsiteY22" fmla="*/ 531710 h 684789"/>
              <a:gd name="connsiteX23" fmla="*/ 0 w 657380"/>
              <a:gd name="connsiteY23" fmla="*/ 95025 h 684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57380" h="684789">
                <a:moveTo>
                  <a:pt x="0" y="0"/>
                </a:moveTo>
                <a:lnTo>
                  <a:pt x="11037" y="3668"/>
                </a:lnTo>
                <a:lnTo>
                  <a:pt x="8532" y="11573"/>
                </a:lnTo>
                <a:lnTo>
                  <a:pt x="9280" y="18674"/>
                </a:lnTo>
                <a:lnTo>
                  <a:pt x="9281" y="18674"/>
                </a:lnTo>
                <a:lnTo>
                  <a:pt x="34683" y="97656"/>
                </a:lnTo>
                <a:lnTo>
                  <a:pt x="47126" y="122140"/>
                </a:lnTo>
                <a:lnTo>
                  <a:pt x="74579" y="171743"/>
                </a:lnTo>
                <a:lnTo>
                  <a:pt x="94082" y="198437"/>
                </a:lnTo>
                <a:lnTo>
                  <a:pt x="127971" y="239850"/>
                </a:lnTo>
                <a:lnTo>
                  <a:pt x="153059" y="265146"/>
                </a:lnTo>
                <a:lnTo>
                  <a:pt x="194020" y="300926"/>
                </a:lnTo>
                <a:lnTo>
                  <a:pt x="223423" y="323210"/>
                </a:lnTo>
                <a:lnTo>
                  <a:pt x="272343" y="354011"/>
                </a:lnTo>
                <a:lnTo>
                  <a:pt x="304229" y="372058"/>
                </a:lnTo>
                <a:lnTo>
                  <a:pt x="364466" y="398536"/>
                </a:lnTo>
                <a:lnTo>
                  <a:pt x="394452" y="410763"/>
                </a:lnTo>
                <a:lnTo>
                  <a:pt x="493035" y="438272"/>
                </a:lnTo>
                <a:lnTo>
                  <a:pt x="493035" y="356099"/>
                </a:lnTo>
                <a:lnTo>
                  <a:pt x="657380" y="537091"/>
                </a:lnTo>
                <a:lnTo>
                  <a:pt x="493035" y="684789"/>
                </a:lnTo>
                <a:lnTo>
                  <a:pt x="493035" y="602617"/>
                </a:lnTo>
                <a:cubicBezTo>
                  <a:pt x="420474" y="587676"/>
                  <a:pt x="353379" y="563422"/>
                  <a:pt x="293551" y="531710"/>
                </a:cubicBezTo>
                <a:cubicBezTo>
                  <a:pt x="114069" y="436573"/>
                  <a:pt x="0" y="274314"/>
                  <a:pt x="0" y="9502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207420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A2E573C3-2E07-46DC-A484-81B345FA4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48389E4-9BF2-437B-83E2-FE8E6CF2D9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GUIDE-HOME-04</a:t>
            </a:r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94AC05BA-9838-4A6E-9C97-DDDB7EFEA7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다운로드</a:t>
            </a:r>
          </a:p>
        </p:txBody>
      </p:sp>
      <p:sp>
        <p:nvSpPr>
          <p:cNvPr id="45" name="텍스트 개체 틀 25">
            <a:extLst>
              <a:ext uri="{FF2B5EF4-FFF2-40B4-BE49-F238E27FC236}">
                <a16:creationId xmlns:a16="http://schemas.microsoft.com/office/drawing/2014/main" id="{D6608DD2-183F-4BB9-A9B4-10047D29D1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16423" y="738537"/>
            <a:ext cx="2371266" cy="6325146"/>
          </a:xfrm>
        </p:spPr>
        <p:txBody>
          <a:bodyPr/>
          <a:lstStyle/>
          <a:p>
            <a:r>
              <a:rPr lang="en-US" altLang="ko-KR" dirty="0"/>
              <a:t>HOME</a:t>
            </a:r>
            <a:r>
              <a:rPr lang="ko-KR" altLang="en-US" dirty="0"/>
              <a:t>화면 상단 메뉴의 다운로드를 클릭하거나</a:t>
            </a:r>
            <a:r>
              <a:rPr lang="en-US" altLang="ko-KR" dirty="0"/>
              <a:t>,</a:t>
            </a:r>
          </a:p>
          <a:p>
            <a:pPr>
              <a:spcBef>
                <a:spcPts val="200"/>
              </a:spcBef>
            </a:pPr>
            <a:r>
              <a:rPr lang="en-US" altLang="ko-KR" dirty="0"/>
              <a:t>HOME </a:t>
            </a:r>
            <a:r>
              <a:rPr lang="ko-KR" altLang="en-US" dirty="0"/>
              <a:t>화면 하단에서 다운로드를 클릭하면</a:t>
            </a:r>
            <a:r>
              <a:rPr lang="en-US" altLang="ko-KR" dirty="0"/>
              <a:t>,</a:t>
            </a:r>
          </a:p>
          <a:p>
            <a:pPr>
              <a:spcBef>
                <a:spcPts val="200"/>
              </a:spcBef>
            </a:pPr>
            <a:r>
              <a:rPr lang="ko-KR" altLang="en-US" dirty="0"/>
              <a:t>다운로드 하위의</a:t>
            </a:r>
            <a:r>
              <a:rPr lang="en-US" altLang="ko-KR" dirty="0"/>
              <a:t> </a:t>
            </a:r>
            <a:r>
              <a:rPr lang="ko-KR" altLang="en-US" dirty="0"/>
              <a:t>카테고리와</a:t>
            </a:r>
            <a:r>
              <a:rPr lang="en-US" altLang="ko-KR" dirty="0"/>
              <a:t> </a:t>
            </a:r>
            <a:r>
              <a:rPr lang="ko-KR" altLang="en-US" dirty="0"/>
              <a:t>카테고리별 문서를 보여줍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다운로드</a:t>
            </a:r>
            <a:r>
              <a:rPr lang="en-US" altLang="ko-KR" dirty="0"/>
              <a:t> </a:t>
            </a:r>
            <a:r>
              <a:rPr lang="ko-KR" altLang="en-US" dirty="0"/>
              <a:t>카테고리 </a:t>
            </a:r>
            <a:r>
              <a:rPr lang="en-US" altLang="ko-KR" dirty="0"/>
              <a:t>&amp; </a:t>
            </a:r>
            <a:r>
              <a:rPr lang="ko-KR" altLang="en-US" dirty="0"/>
              <a:t>문서</a:t>
            </a:r>
            <a:endParaRPr lang="en-US" altLang="ko-KR" dirty="0"/>
          </a:p>
          <a:p>
            <a:pPr marL="90488" indent="-9048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ko-KR" altLang="en-US" dirty="0"/>
              <a:t>다운로드</a:t>
            </a:r>
            <a:r>
              <a:rPr lang="en-US" altLang="ko-KR" dirty="0"/>
              <a:t> </a:t>
            </a:r>
            <a:r>
              <a:rPr lang="ko-KR" altLang="en-US" dirty="0"/>
              <a:t>하위의 카테고리</a:t>
            </a:r>
            <a:r>
              <a:rPr lang="en-US" altLang="ko-KR" dirty="0"/>
              <a:t> </a:t>
            </a:r>
            <a:r>
              <a:rPr lang="ko-KR" altLang="en-US" dirty="0"/>
              <a:t>목록과</a:t>
            </a:r>
            <a:r>
              <a:rPr lang="en-US" altLang="ko-KR" dirty="0"/>
              <a:t> </a:t>
            </a:r>
            <a:r>
              <a:rPr lang="ko-KR" altLang="en-US" dirty="0"/>
              <a:t>카테고리별 등록된 다운로드 파일 목록을 보여줍니다</a:t>
            </a:r>
            <a:r>
              <a:rPr lang="en-US" altLang="ko-KR" dirty="0"/>
              <a:t>.</a:t>
            </a:r>
          </a:p>
          <a:p>
            <a:pPr marL="90488" indent="-9048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ko-KR" altLang="en-US" dirty="0"/>
              <a:t>파일 목록은 최대 </a:t>
            </a:r>
            <a:r>
              <a:rPr lang="en-US" altLang="ko-KR" dirty="0"/>
              <a:t>6</a:t>
            </a:r>
            <a:r>
              <a:rPr lang="ko-KR" altLang="en-US" dirty="0"/>
              <a:t>개를 보여줍니다</a:t>
            </a:r>
            <a:r>
              <a:rPr lang="en-US" altLang="ko-KR" dirty="0"/>
              <a:t>.</a:t>
            </a:r>
          </a:p>
          <a:p>
            <a:pPr>
              <a:spcBef>
                <a:spcPts val="800"/>
              </a:spcBef>
            </a:pPr>
            <a:endParaRPr lang="ko-KR" altLang="en-US" dirty="0"/>
          </a:p>
        </p:txBody>
      </p:sp>
      <p:cxnSp>
        <p:nvCxnSpPr>
          <p:cNvPr id="47" name="직선 연결선 46">
            <a:extLst>
              <a:ext uri="{FF2B5EF4-FFF2-40B4-BE49-F238E27FC236}">
                <a16:creationId xmlns:a16="http://schemas.microsoft.com/office/drawing/2014/main" id="{C899F4C7-49EE-4B91-8165-E804D9A3F730}"/>
              </a:ext>
            </a:extLst>
          </p:cNvPr>
          <p:cNvCxnSpPr>
            <a:cxnSpLocks/>
          </p:cNvCxnSpPr>
          <p:nvPr/>
        </p:nvCxnSpPr>
        <p:spPr>
          <a:xfrm>
            <a:off x="7636369" y="1444156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타원 52">
            <a:extLst>
              <a:ext uri="{FF2B5EF4-FFF2-40B4-BE49-F238E27FC236}">
                <a16:creationId xmlns:a16="http://schemas.microsoft.com/office/drawing/2014/main" id="{981096F5-E690-4764-85A6-AB491336780C}"/>
              </a:ext>
            </a:extLst>
          </p:cNvPr>
          <p:cNvSpPr/>
          <p:nvPr/>
        </p:nvSpPr>
        <p:spPr>
          <a:xfrm>
            <a:off x="7699880" y="808567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54" name="타원 53">
            <a:extLst>
              <a:ext uri="{FF2B5EF4-FFF2-40B4-BE49-F238E27FC236}">
                <a16:creationId xmlns:a16="http://schemas.microsoft.com/office/drawing/2014/main" id="{FF870025-4A4D-4D3D-A9E2-775F6BDA6D25}"/>
              </a:ext>
            </a:extLst>
          </p:cNvPr>
          <p:cNvSpPr/>
          <p:nvPr/>
        </p:nvSpPr>
        <p:spPr>
          <a:xfrm>
            <a:off x="7699880" y="1500914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10721A35-0089-43E1-B7FA-575E3625F9B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6865"/>
          <a:stretch/>
        </p:blipFill>
        <p:spPr>
          <a:xfrm>
            <a:off x="1892854" y="4301517"/>
            <a:ext cx="4907694" cy="2467430"/>
          </a:xfrm>
          <a:prstGeom prst="rect">
            <a:avLst/>
          </a:prstGeom>
        </p:spPr>
      </p:pic>
      <p:sp>
        <p:nvSpPr>
          <p:cNvPr id="19" name="사각형: 둥근 모서리 18">
            <a:extLst>
              <a:ext uri="{FF2B5EF4-FFF2-40B4-BE49-F238E27FC236}">
                <a16:creationId xmlns:a16="http://schemas.microsoft.com/office/drawing/2014/main" id="{F691C694-3FD2-4EE9-B2B7-3C264088309A}"/>
              </a:ext>
            </a:extLst>
          </p:cNvPr>
          <p:cNvSpPr/>
          <p:nvPr/>
        </p:nvSpPr>
        <p:spPr>
          <a:xfrm>
            <a:off x="2091924" y="4745655"/>
            <a:ext cx="1238054" cy="487166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1CA1E440-BDE4-454B-96EF-04A41E0C2649}"/>
              </a:ext>
            </a:extLst>
          </p:cNvPr>
          <p:cNvSpPr/>
          <p:nvPr/>
        </p:nvSpPr>
        <p:spPr>
          <a:xfrm>
            <a:off x="1938892" y="4669139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0186C341-CB57-4827-AE07-C0BF7A39EE1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6469"/>
          <a:stretch>
            <a:fillRect/>
          </a:stretch>
        </p:blipFill>
        <p:spPr>
          <a:xfrm>
            <a:off x="1106179" y="790728"/>
            <a:ext cx="4772025" cy="1451811"/>
          </a:xfrm>
          <a:custGeom>
            <a:avLst/>
            <a:gdLst>
              <a:gd name="connsiteX0" fmla="*/ 0 w 4772025"/>
              <a:gd name="connsiteY0" fmla="*/ 0 h 1451811"/>
              <a:gd name="connsiteX1" fmla="*/ 4772025 w 4772025"/>
              <a:gd name="connsiteY1" fmla="*/ 0 h 1451811"/>
              <a:gd name="connsiteX2" fmla="*/ 4772025 w 4772025"/>
              <a:gd name="connsiteY2" fmla="*/ 1410613 h 1451811"/>
              <a:gd name="connsiteX3" fmla="*/ 4766911 w 4772025"/>
              <a:gd name="connsiteY3" fmla="*/ 1408525 h 1451811"/>
              <a:gd name="connsiteX4" fmla="*/ 4166836 w 4772025"/>
              <a:gd name="connsiteY4" fmla="*/ 1203339 h 1451811"/>
              <a:gd name="connsiteX5" fmla="*/ 3585811 w 4772025"/>
              <a:gd name="connsiteY5" fmla="*/ 1430123 h 1451811"/>
              <a:gd name="connsiteX6" fmla="*/ 2957161 w 4772025"/>
              <a:gd name="connsiteY6" fmla="*/ 1224937 h 1451811"/>
              <a:gd name="connsiteX7" fmla="*/ 2376136 w 4772025"/>
              <a:gd name="connsiteY7" fmla="*/ 1440922 h 1451811"/>
              <a:gd name="connsiteX8" fmla="*/ 1785586 w 4772025"/>
              <a:gd name="connsiteY8" fmla="*/ 1181740 h 1451811"/>
              <a:gd name="connsiteX9" fmla="*/ 1223611 w 4772025"/>
              <a:gd name="connsiteY9" fmla="*/ 1451722 h 1451811"/>
              <a:gd name="connsiteX10" fmla="*/ 604486 w 4772025"/>
              <a:gd name="connsiteY10" fmla="*/ 1214138 h 1451811"/>
              <a:gd name="connsiteX11" fmla="*/ 4411 w 4772025"/>
              <a:gd name="connsiteY11" fmla="*/ 1440922 h 1451811"/>
              <a:gd name="connsiteX12" fmla="*/ 0 w 4772025"/>
              <a:gd name="connsiteY12" fmla="*/ 1442656 h 1451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772025" h="1451811">
                <a:moveTo>
                  <a:pt x="0" y="0"/>
                </a:moveTo>
                <a:lnTo>
                  <a:pt x="4772025" y="0"/>
                </a:lnTo>
                <a:lnTo>
                  <a:pt x="4772025" y="1410613"/>
                </a:lnTo>
                <a:lnTo>
                  <a:pt x="4766911" y="1408525"/>
                </a:lnTo>
                <a:cubicBezTo>
                  <a:pt x="4670074" y="1345529"/>
                  <a:pt x="4363686" y="1199739"/>
                  <a:pt x="4166836" y="1203339"/>
                </a:cubicBezTo>
                <a:cubicBezTo>
                  <a:pt x="3969986" y="1206938"/>
                  <a:pt x="3787423" y="1426523"/>
                  <a:pt x="3585811" y="1430123"/>
                </a:cubicBezTo>
                <a:cubicBezTo>
                  <a:pt x="3384199" y="1433723"/>
                  <a:pt x="3158773" y="1223138"/>
                  <a:pt x="2957161" y="1224937"/>
                </a:cubicBezTo>
                <a:cubicBezTo>
                  <a:pt x="2755549" y="1226736"/>
                  <a:pt x="2571398" y="1448122"/>
                  <a:pt x="2376136" y="1440922"/>
                </a:cubicBezTo>
                <a:cubicBezTo>
                  <a:pt x="2180874" y="1433723"/>
                  <a:pt x="1977673" y="1179941"/>
                  <a:pt x="1785586" y="1181740"/>
                </a:cubicBezTo>
                <a:cubicBezTo>
                  <a:pt x="1593499" y="1183539"/>
                  <a:pt x="1420461" y="1446322"/>
                  <a:pt x="1223611" y="1451722"/>
                </a:cubicBezTo>
                <a:cubicBezTo>
                  <a:pt x="1026761" y="1457121"/>
                  <a:pt x="807686" y="1215937"/>
                  <a:pt x="604486" y="1214138"/>
                </a:cubicBezTo>
                <a:cubicBezTo>
                  <a:pt x="401286" y="1212339"/>
                  <a:pt x="101248" y="1377927"/>
                  <a:pt x="4411" y="1440922"/>
                </a:cubicBezTo>
                <a:lnTo>
                  <a:pt x="0" y="1442656"/>
                </a:lnTo>
                <a:close/>
              </a:path>
            </a:pathLst>
          </a:cu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E43ED48C-CDAC-480C-97C6-9FC7FB17D23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63250"/>
          <a:stretch/>
        </p:blipFill>
        <p:spPr>
          <a:xfrm>
            <a:off x="1106179" y="2823036"/>
            <a:ext cx="4772025" cy="897984"/>
          </a:xfrm>
          <a:custGeom>
            <a:avLst/>
            <a:gdLst>
              <a:gd name="connsiteX0" fmla="*/ 1223611 w 4772025"/>
              <a:gd name="connsiteY0" fmla="*/ 90 h 897984"/>
              <a:gd name="connsiteX1" fmla="*/ 1785586 w 4772025"/>
              <a:gd name="connsiteY1" fmla="*/ 270071 h 897984"/>
              <a:gd name="connsiteX2" fmla="*/ 2376136 w 4772025"/>
              <a:gd name="connsiteY2" fmla="*/ 10889 h 897984"/>
              <a:gd name="connsiteX3" fmla="*/ 2957161 w 4772025"/>
              <a:gd name="connsiteY3" fmla="*/ 226874 h 897984"/>
              <a:gd name="connsiteX4" fmla="*/ 3585811 w 4772025"/>
              <a:gd name="connsiteY4" fmla="*/ 21688 h 897984"/>
              <a:gd name="connsiteX5" fmla="*/ 4166836 w 4772025"/>
              <a:gd name="connsiteY5" fmla="*/ 248473 h 897984"/>
              <a:gd name="connsiteX6" fmla="*/ 4766911 w 4772025"/>
              <a:gd name="connsiteY6" fmla="*/ 43287 h 897984"/>
              <a:gd name="connsiteX7" fmla="*/ 4772025 w 4772025"/>
              <a:gd name="connsiteY7" fmla="*/ 41199 h 897984"/>
              <a:gd name="connsiteX8" fmla="*/ 4772025 w 4772025"/>
              <a:gd name="connsiteY8" fmla="*/ 897984 h 897984"/>
              <a:gd name="connsiteX9" fmla="*/ 0 w 4772025"/>
              <a:gd name="connsiteY9" fmla="*/ 897984 h 897984"/>
              <a:gd name="connsiteX10" fmla="*/ 0 w 4772025"/>
              <a:gd name="connsiteY10" fmla="*/ 9155 h 897984"/>
              <a:gd name="connsiteX11" fmla="*/ 4411 w 4772025"/>
              <a:gd name="connsiteY11" fmla="*/ 10889 h 897984"/>
              <a:gd name="connsiteX12" fmla="*/ 604486 w 4772025"/>
              <a:gd name="connsiteY12" fmla="*/ 237673 h 897984"/>
              <a:gd name="connsiteX13" fmla="*/ 1223611 w 4772025"/>
              <a:gd name="connsiteY13" fmla="*/ 90 h 8979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772025" h="897984">
                <a:moveTo>
                  <a:pt x="1223611" y="90"/>
                </a:moveTo>
                <a:cubicBezTo>
                  <a:pt x="1420461" y="5489"/>
                  <a:pt x="1593499" y="268272"/>
                  <a:pt x="1785586" y="270071"/>
                </a:cubicBezTo>
                <a:cubicBezTo>
                  <a:pt x="1977673" y="271870"/>
                  <a:pt x="2180874" y="18089"/>
                  <a:pt x="2376136" y="10889"/>
                </a:cubicBezTo>
                <a:cubicBezTo>
                  <a:pt x="2571398" y="3690"/>
                  <a:pt x="2755549" y="225075"/>
                  <a:pt x="2957161" y="226874"/>
                </a:cubicBezTo>
                <a:cubicBezTo>
                  <a:pt x="3158773" y="228673"/>
                  <a:pt x="3384199" y="18089"/>
                  <a:pt x="3585811" y="21688"/>
                </a:cubicBezTo>
                <a:cubicBezTo>
                  <a:pt x="3787423" y="25288"/>
                  <a:pt x="3969986" y="244873"/>
                  <a:pt x="4166836" y="248473"/>
                </a:cubicBezTo>
                <a:cubicBezTo>
                  <a:pt x="4363686" y="252072"/>
                  <a:pt x="4670074" y="106282"/>
                  <a:pt x="4766911" y="43287"/>
                </a:cubicBezTo>
                <a:lnTo>
                  <a:pt x="4772025" y="41199"/>
                </a:lnTo>
                <a:lnTo>
                  <a:pt x="4772025" y="897984"/>
                </a:lnTo>
                <a:lnTo>
                  <a:pt x="0" y="897984"/>
                </a:lnTo>
                <a:lnTo>
                  <a:pt x="0" y="9155"/>
                </a:lnTo>
                <a:lnTo>
                  <a:pt x="4411" y="10889"/>
                </a:lnTo>
                <a:cubicBezTo>
                  <a:pt x="101248" y="73884"/>
                  <a:pt x="401286" y="239473"/>
                  <a:pt x="604486" y="237673"/>
                </a:cubicBezTo>
                <a:cubicBezTo>
                  <a:pt x="807686" y="235874"/>
                  <a:pt x="1026761" y="-5309"/>
                  <a:pt x="1223611" y="90"/>
                </a:cubicBezTo>
                <a:close/>
              </a:path>
            </a:pathLst>
          </a:cu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3" name="타원 22">
            <a:extLst>
              <a:ext uri="{FF2B5EF4-FFF2-40B4-BE49-F238E27FC236}">
                <a16:creationId xmlns:a16="http://schemas.microsoft.com/office/drawing/2014/main" id="{73F2F265-8D67-4FA9-9BEE-E80A852394A3}"/>
              </a:ext>
            </a:extLst>
          </p:cNvPr>
          <p:cNvSpPr/>
          <p:nvPr/>
        </p:nvSpPr>
        <p:spPr>
          <a:xfrm>
            <a:off x="4839612" y="790728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24" name="사각형: 둥근 모서리 23">
            <a:extLst>
              <a:ext uri="{FF2B5EF4-FFF2-40B4-BE49-F238E27FC236}">
                <a16:creationId xmlns:a16="http://schemas.microsoft.com/office/drawing/2014/main" id="{3AFCB611-7F05-496C-806D-0BF0590FBC5F}"/>
              </a:ext>
            </a:extLst>
          </p:cNvPr>
          <p:cNvSpPr/>
          <p:nvPr/>
        </p:nvSpPr>
        <p:spPr>
          <a:xfrm>
            <a:off x="4931088" y="867244"/>
            <a:ext cx="260507" cy="153032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1D62BA73-2042-476A-93D9-4ADBCD0A6AAD}"/>
              </a:ext>
            </a:extLst>
          </p:cNvPr>
          <p:cNvSpPr/>
          <p:nvPr/>
        </p:nvSpPr>
        <p:spPr>
          <a:xfrm>
            <a:off x="3946111" y="3027125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29" name="사각형: 둥근 모서리 28">
            <a:extLst>
              <a:ext uri="{FF2B5EF4-FFF2-40B4-BE49-F238E27FC236}">
                <a16:creationId xmlns:a16="http://schemas.microsoft.com/office/drawing/2014/main" id="{3F5D10E4-9389-4EFB-958E-C065A0F6140A}"/>
              </a:ext>
            </a:extLst>
          </p:cNvPr>
          <p:cNvSpPr/>
          <p:nvPr/>
        </p:nvSpPr>
        <p:spPr>
          <a:xfrm>
            <a:off x="4022627" y="3120157"/>
            <a:ext cx="1477519" cy="623649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사다리꼴 30">
            <a:extLst>
              <a:ext uri="{FF2B5EF4-FFF2-40B4-BE49-F238E27FC236}">
                <a16:creationId xmlns:a16="http://schemas.microsoft.com/office/drawing/2014/main" id="{DF235344-C509-4F3D-8199-ACE2CDAA927A}"/>
              </a:ext>
            </a:extLst>
          </p:cNvPr>
          <p:cNvSpPr/>
          <p:nvPr/>
        </p:nvSpPr>
        <p:spPr>
          <a:xfrm rot="5400000">
            <a:off x="4735721" y="2021577"/>
            <a:ext cx="2953078" cy="491380"/>
          </a:xfrm>
          <a:prstGeom prst="trapezoid">
            <a:avLst/>
          </a:prstGeom>
          <a:solidFill>
            <a:schemeClr val="bg1">
              <a:lumMod val="95000"/>
            </a:schemeClr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B06B1DF-0378-48E1-BDD0-D4A0C899636A}"/>
              </a:ext>
            </a:extLst>
          </p:cNvPr>
          <p:cNvSpPr txBox="1"/>
          <p:nvPr/>
        </p:nvSpPr>
        <p:spPr>
          <a:xfrm>
            <a:off x="6033365" y="1774199"/>
            <a:ext cx="35779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H</a:t>
            </a:r>
          </a:p>
          <a:p>
            <a:pPr algn="ctr"/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O</a:t>
            </a:r>
          </a:p>
          <a:p>
            <a:pPr algn="ctr"/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M</a:t>
            </a:r>
          </a:p>
          <a:p>
            <a:pPr algn="ctr"/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E</a:t>
            </a:r>
            <a:endParaRPr lang="ko-KR" altLang="en-US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3" name="자유형: 도형 32">
            <a:extLst>
              <a:ext uri="{FF2B5EF4-FFF2-40B4-BE49-F238E27FC236}">
                <a16:creationId xmlns:a16="http://schemas.microsoft.com/office/drawing/2014/main" id="{ADEBE74C-75FB-4BD1-B04F-CB35EA498BB7}"/>
              </a:ext>
            </a:extLst>
          </p:cNvPr>
          <p:cNvSpPr/>
          <p:nvPr/>
        </p:nvSpPr>
        <p:spPr>
          <a:xfrm rot="2256415">
            <a:off x="1257981" y="3964195"/>
            <a:ext cx="608304" cy="664935"/>
          </a:xfrm>
          <a:custGeom>
            <a:avLst/>
            <a:gdLst>
              <a:gd name="connsiteX0" fmla="*/ 0 w 657380"/>
              <a:gd name="connsiteY0" fmla="*/ 0 h 684789"/>
              <a:gd name="connsiteX1" fmla="*/ 11037 w 657380"/>
              <a:gd name="connsiteY1" fmla="*/ 3668 h 684789"/>
              <a:gd name="connsiteX2" fmla="*/ 8532 w 657380"/>
              <a:gd name="connsiteY2" fmla="*/ 11573 h 684789"/>
              <a:gd name="connsiteX3" fmla="*/ 9280 w 657380"/>
              <a:gd name="connsiteY3" fmla="*/ 18674 h 684789"/>
              <a:gd name="connsiteX4" fmla="*/ 9281 w 657380"/>
              <a:gd name="connsiteY4" fmla="*/ 18674 h 684789"/>
              <a:gd name="connsiteX5" fmla="*/ 34683 w 657380"/>
              <a:gd name="connsiteY5" fmla="*/ 97656 h 684789"/>
              <a:gd name="connsiteX6" fmla="*/ 47126 w 657380"/>
              <a:gd name="connsiteY6" fmla="*/ 122140 h 684789"/>
              <a:gd name="connsiteX7" fmla="*/ 74579 w 657380"/>
              <a:gd name="connsiteY7" fmla="*/ 171743 h 684789"/>
              <a:gd name="connsiteX8" fmla="*/ 94082 w 657380"/>
              <a:gd name="connsiteY8" fmla="*/ 198437 h 684789"/>
              <a:gd name="connsiteX9" fmla="*/ 127971 w 657380"/>
              <a:gd name="connsiteY9" fmla="*/ 239850 h 684789"/>
              <a:gd name="connsiteX10" fmla="*/ 153059 w 657380"/>
              <a:gd name="connsiteY10" fmla="*/ 265146 h 684789"/>
              <a:gd name="connsiteX11" fmla="*/ 194020 w 657380"/>
              <a:gd name="connsiteY11" fmla="*/ 300926 h 684789"/>
              <a:gd name="connsiteX12" fmla="*/ 223423 w 657380"/>
              <a:gd name="connsiteY12" fmla="*/ 323210 h 684789"/>
              <a:gd name="connsiteX13" fmla="*/ 272343 w 657380"/>
              <a:gd name="connsiteY13" fmla="*/ 354011 h 684789"/>
              <a:gd name="connsiteX14" fmla="*/ 304229 w 657380"/>
              <a:gd name="connsiteY14" fmla="*/ 372058 h 684789"/>
              <a:gd name="connsiteX15" fmla="*/ 364466 w 657380"/>
              <a:gd name="connsiteY15" fmla="*/ 398536 h 684789"/>
              <a:gd name="connsiteX16" fmla="*/ 394452 w 657380"/>
              <a:gd name="connsiteY16" fmla="*/ 410763 h 684789"/>
              <a:gd name="connsiteX17" fmla="*/ 493035 w 657380"/>
              <a:gd name="connsiteY17" fmla="*/ 438272 h 684789"/>
              <a:gd name="connsiteX18" fmla="*/ 493035 w 657380"/>
              <a:gd name="connsiteY18" fmla="*/ 356099 h 684789"/>
              <a:gd name="connsiteX19" fmla="*/ 657380 w 657380"/>
              <a:gd name="connsiteY19" fmla="*/ 537091 h 684789"/>
              <a:gd name="connsiteX20" fmla="*/ 493035 w 657380"/>
              <a:gd name="connsiteY20" fmla="*/ 684789 h 684789"/>
              <a:gd name="connsiteX21" fmla="*/ 493035 w 657380"/>
              <a:gd name="connsiteY21" fmla="*/ 602617 h 684789"/>
              <a:gd name="connsiteX22" fmla="*/ 293551 w 657380"/>
              <a:gd name="connsiteY22" fmla="*/ 531710 h 684789"/>
              <a:gd name="connsiteX23" fmla="*/ 0 w 657380"/>
              <a:gd name="connsiteY23" fmla="*/ 95025 h 684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57380" h="684789">
                <a:moveTo>
                  <a:pt x="0" y="0"/>
                </a:moveTo>
                <a:lnTo>
                  <a:pt x="11037" y="3668"/>
                </a:lnTo>
                <a:lnTo>
                  <a:pt x="8532" y="11573"/>
                </a:lnTo>
                <a:lnTo>
                  <a:pt x="9280" y="18674"/>
                </a:lnTo>
                <a:lnTo>
                  <a:pt x="9281" y="18674"/>
                </a:lnTo>
                <a:lnTo>
                  <a:pt x="34683" y="97656"/>
                </a:lnTo>
                <a:lnTo>
                  <a:pt x="47126" y="122140"/>
                </a:lnTo>
                <a:lnTo>
                  <a:pt x="74579" y="171743"/>
                </a:lnTo>
                <a:lnTo>
                  <a:pt x="94082" y="198437"/>
                </a:lnTo>
                <a:lnTo>
                  <a:pt x="127971" y="239850"/>
                </a:lnTo>
                <a:lnTo>
                  <a:pt x="153059" y="265146"/>
                </a:lnTo>
                <a:lnTo>
                  <a:pt x="194020" y="300926"/>
                </a:lnTo>
                <a:lnTo>
                  <a:pt x="223423" y="323210"/>
                </a:lnTo>
                <a:lnTo>
                  <a:pt x="272343" y="354011"/>
                </a:lnTo>
                <a:lnTo>
                  <a:pt x="304229" y="372058"/>
                </a:lnTo>
                <a:lnTo>
                  <a:pt x="364466" y="398536"/>
                </a:lnTo>
                <a:lnTo>
                  <a:pt x="394452" y="410763"/>
                </a:lnTo>
                <a:lnTo>
                  <a:pt x="493035" y="438272"/>
                </a:lnTo>
                <a:lnTo>
                  <a:pt x="493035" y="356099"/>
                </a:lnTo>
                <a:lnTo>
                  <a:pt x="657380" y="537091"/>
                </a:lnTo>
                <a:lnTo>
                  <a:pt x="493035" y="684789"/>
                </a:lnTo>
                <a:lnTo>
                  <a:pt x="493035" y="602617"/>
                </a:lnTo>
                <a:cubicBezTo>
                  <a:pt x="420474" y="587676"/>
                  <a:pt x="353379" y="563422"/>
                  <a:pt x="293551" y="531710"/>
                </a:cubicBezTo>
                <a:cubicBezTo>
                  <a:pt x="114069" y="436573"/>
                  <a:pt x="0" y="274314"/>
                  <a:pt x="0" y="9502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725199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A2E573C3-2E07-46DC-A484-81B345FA4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48389E4-9BF2-437B-83E2-FE8E6CF2D9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GUIDE-HOME-05</a:t>
            </a:r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94AC05BA-9838-4A6E-9C97-DDDB7EFEA7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문서 내용 보기</a:t>
            </a:r>
          </a:p>
        </p:txBody>
      </p:sp>
      <p:sp>
        <p:nvSpPr>
          <p:cNvPr id="45" name="텍스트 개체 틀 25">
            <a:extLst>
              <a:ext uri="{FF2B5EF4-FFF2-40B4-BE49-F238E27FC236}">
                <a16:creationId xmlns:a16="http://schemas.microsoft.com/office/drawing/2014/main" id="{D6608DD2-183F-4BB9-A9B4-10047D29D1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01463" y="724384"/>
            <a:ext cx="2371266" cy="6325146"/>
          </a:xfrm>
        </p:spPr>
        <p:txBody>
          <a:bodyPr/>
          <a:lstStyle/>
          <a:p>
            <a:r>
              <a:rPr lang="en-US" altLang="ko-KR" dirty="0"/>
              <a:t>FAQ, </a:t>
            </a:r>
            <a:r>
              <a:rPr lang="ko-KR" altLang="en-US" dirty="0"/>
              <a:t>매뉴얼</a:t>
            </a:r>
            <a:r>
              <a:rPr lang="en-US" altLang="ko-KR" dirty="0"/>
              <a:t>, </a:t>
            </a:r>
            <a:r>
              <a:rPr lang="ko-KR" altLang="en-US" dirty="0"/>
              <a:t>다운로드 카테고리 내의 문서 제목을 클릭하면 문서의 상세 내용을 보여줍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“</a:t>
            </a:r>
            <a:r>
              <a:rPr lang="ko-KR" altLang="en-US" dirty="0" err="1"/>
              <a:t>팔로잉</a:t>
            </a:r>
            <a:r>
              <a:rPr lang="en-US" altLang="ko-KR" dirty="0"/>
              <a:t>”</a:t>
            </a:r>
            <a:r>
              <a:rPr lang="ko-KR" altLang="en-US" dirty="0"/>
              <a:t>은 해당 문서를 </a:t>
            </a:r>
            <a:r>
              <a:rPr lang="ko-KR" altLang="en-US" dirty="0" err="1"/>
              <a:t>북마크하는</a:t>
            </a:r>
            <a:r>
              <a:rPr lang="ko-KR" altLang="en-US" dirty="0"/>
              <a:t> 것을 의미합니다</a:t>
            </a:r>
            <a:r>
              <a:rPr lang="en-US" altLang="ko-KR" dirty="0"/>
              <a:t>. </a:t>
            </a:r>
            <a:r>
              <a:rPr lang="ko-KR" altLang="en-US" dirty="0"/>
              <a:t>내 프로필의 북마크에서 </a:t>
            </a:r>
            <a:r>
              <a:rPr lang="ko-KR" altLang="en-US" dirty="0" err="1"/>
              <a:t>팔로잉한</a:t>
            </a:r>
            <a:r>
              <a:rPr lang="ko-KR" altLang="en-US" dirty="0"/>
              <a:t> 문서를 확인할 수 있습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내용보기 하단에 해당 문서가 도움이 되었는지 여부를 확인하는 내용이 </a:t>
            </a:r>
            <a:r>
              <a:rPr lang="ko-KR" altLang="en-US" dirty="0" err="1"/>
              <a:t>보요집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내용보기 하단에 추가적으로 참조할 수 있는 관련 문서를 보여줍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선택한 섹션</a:t>
            </a:r>
            <a:r>
              <a:rPr lang="en-US" altLang="ko-KR" dirty="0"/>
              <a:t>(=</a:t>
            </a:r>
            <a:r>
              <a:rPr lang="ko-KR" altLang="en-US" dirty="0"/>
              <a:t>카테고리</a:t>
            </a:r>
            <a:r>
              <a:rPr lang="en-US" altLang="ko-KR" dirty="0"/>
              <a:t>)</a:t>
            </a:r>
            <a:r>
              <a:rPr lang="ko-KR" altLang="en-US" dirty="0"/>
              <a:t>의 다른 문서 목록을 보여줍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55" name="타원 54">
            <a:extLst>
              <a:ext uri="{FF2B5EF4-FFF2-40B4-BE49-F238E27FC236}">
                <a16:creationId xmlns:a16="http://schemas.microsoft.com/office/drawing/2014/main" id="{0D6D04AC-78E8-40CB-971B-2D9280F889B1}"/>
              </a:ext>
            </a:extLst>
          </p:cNvPr>
          <p:cNvSpPr/>
          <p:nvPr/>
        </p:nvSpPr>
        <p:spPr>
          <a:xfrm>
            <a:off x="7692400" y="1196610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85F7FF5E-0A5B-4C3E-B109-7B41573B2319}"/>
              </a:ext>
            </a:extLst>
          </p:cNvPr>
          <p:cNvCxnSpPr>
            <a:cxnSpLocks/>
          </p:cNvCxnSpPr>
          <p:nvPr/>
        </p:nvCxnSpPr>
        <p:spPr>
          <a:xfrm>
            <a:off x="7636369" y="1115648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9AD72ACE-9153-4DB0-8790-00374B8698EB}"/>
              </a:ext>
            </a:extLst>
          </p:cNvPr>
          <p:cNvCxnSpPr>
            <a:cxnSpLocks/>
          </p:cNvCxnSpPr>
          <p:nvPr/>
        </p:nvCxnSpPr>
        <p:spPr>
          <a:xfrm>
            <a:off x="7636369" y="2525160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타원 53">
            <a:extLst>
              <a:ext uri="{FF2B5EF4-FFF2-40B4-BE49-F238E27FC236}">
                <a16:creationId xmlns:a16="http://schemas.microsoft.com/office/drawing/2014/main" id="{FF870025-4A4D-4D3D-A9E2-775F6BDA6D25}"/>
              </a:ext>
            </a:extLst>
          </p:cNvPr>
          <p:cNvSpPr/>
          <p:nvPr/>
        </p:nvSpPr>
        <p:spPr>
          <a:xfrm>
            <a:off x="7694667" y="820618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353DE237-338D-4071-A306-4DCBA976E731}"/>
              </a:ext>
            </a:extLst>
          </p:cNvPr>
          <p:cNvSpPr/>
          <p:nvPr/>
        </p:nvSpPr>
        <p:spPr>
          <a:xfrm>
            <a:off x="7696418" y="2606122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5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D8F0C22C-48C3-4E89-891D-F44B81EA8C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743" y="820618"/>
            <a:ext cx="6840855" cy="3206115"/>
          </a:xfrm>
          <a:prstGeom prst="rect">
            <a:avLst/>
          </a:prstGeom>
        </p:spPr>
      </p:pic>
      <p:sp>
        <p:nvSpPr>
          <p:cNvPr id="25" name="타원 24">
            <a:extLst>
              <a:ext uri="{FF2B5EF4-FFF2-40B4-BE49-F238E27FC236}">
                <a16:creationId xmlns:a16="http://schemas.microsoft.com/office/drawing/2014/main" id="{E6AAFC20-F243-4728-B6AD-6062E0588850}"/>
              </a:ext>
            </a:extLst>
          </p:cNvPr>
          <p:cNvSpPr/>
          <p:nvPr/>
        </p:nvSpPr>
        <p:spPr>
          <a:xfrm>
            <a:off x="2343013" y="1839658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1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26" name="사각형: 둥근 모서리 25">
            <a:extLst>
              <a:ext uri="{FF2B5EF4-FFF2-40B4-BE49-F238E27FC236}">
                <a16:creationId xmlns:a16="http://schemas.microsoft.com/office/drawing/2014/main" id="{990B3C33-36A7-4F26-8413-8F986713B2B1}"/>
              </a:ext>
            </a:extLst>
          </p:cNvPr>
          <p:cNvSpPr/>
          <p:nvPr/>
        </p:nvSpPr>
        <p:spPr>
          <a:xfrm>
            <a:off x="801039" y="1727359"/>
            <a:ext cx="1290885" cy="2549366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사각형: 둥근 모서리 17">
            <a:extLst>
              <a:ext uri="{FF2B5EF4-FFF2-40B4-BE49-F238E27FC236}">
                <a16:creationId xmlns:a16="http://schemas.microsoft.com/office/drawing/2014/main" id="{1BEEEEE6-9C53-4E58-A393-75E392EC5C93}"/>
              </a:ext>
            </a:extLst>
          </p:cNvPr>
          <p:cNvSpPr/>
          <p:nvPr/>
        </p:nvSpPr>
        <p:spPr>
          <a:xfrm>
            <a:off x="2357018" y="1880391"/>
            <a:ext cx="4988327" cy="2549366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타원 18">
            <a:extLst>
              <a:ext uri="{FF2B5EF4-FFF2-40B4-BE49-F238E27FC236}">
                <a16:creationId xmlns:a16="http://schemas.microsoft.com/office/drawing/2014/main" id="{8F998B18-6A67-42E0-BD1A-88BE0B650207}"/>
              </a:ext>
            </a:extLst>
          </p:cNvPr>
          <p:cNvSpPr/>
          <p:nvPr/>
        </p:nvSpPr>
        <p:spPr>
          <a:xfrm>
            <a:off x="747275" y="1727358"/>
            <a:ext cx="153032" cy="15303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5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20" name="사각형: 둥근 모서리 19">
            <a:extLst>
              <a:ext uri="{FF2B5EF4-FFF2-40B4-BE49-F238E27FC236}">
                <a16:creationId xmlns:a16="http://schemas.microsoft.com/office/drawing/2014/main" id="{24D8719D-F4EE-4E3A-8E1B-B0B36F63DF04}"/>
              </a:ext>
            </a:extLst>
          </p:cNvPr>
          <p:cNvSpPr/>
          <p:nvPr/>
        </p:nvSpPr>
        <p:spPr>
          <a:xfrm>
            <a:off x="5853207" y="2491497"/>
            <a:ext cx="483849" cy="282267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577D0D06-E5E0-4B94-B857-0A0151E7BC3B}"/>
              </a:ext>
            </a:extLst>
          </p:cNvPr>
          <p:cNvSpPr/>
          <p:nvPr/>
        </p:nvSpPr>
        <p:spPr>
          <a:xfrm>
            <a:off x="6279884" y="2433315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2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30432C89-2AE9-4DC7-B64D-619350DDA5E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494" r="12638"/>
          <a:stretch/>
        </p:blipFill>
        <p:spPr>
          <a:xfrm>
            <a:off x="530181" y="4933473"/>
            <a:ext cx="3243563" cy="1952625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78D67C0C-9417-4704-9D96-00314CA01C2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31344"/>
          <a:stretch/>
        </p:blipFill>
        <p:spPr>
          <a:xfrm>
            <a:off x="4101761" y="4838222"/>
            <a:ext cx="3243584" cy="2143125"/>
          </a:xfrm>
          <a:prstGeom prst="rect">
            <a:avLst/>
          </a:prstGeom>
        </p:spPr>
      </p:pic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C9BFD1FD-51A0-4049-9B2B-CEF37795D1F9}"/>
              </a:ext>
            </a:extLst>
          </p:cNvPr>
          <p:cNvSpPr/>
          <p:nvPr/>
        </p:nvSpPr>
        <p:spPr>
          <a:xfrm>
            <a:off x="900307" y="5038878"/>
            <a:ext cx="2528693" cy="1952626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사각형: 둥근 모서리 28">
            <a:extLst>
              <a:ext uri="{FF2B5EF4-FFF2-40B4-BE49-F238E27FC236}">
                <a16:creationId xmlns:a16="http://schemas.microsoft.com/office/drawing/2014/main" id="{65389E5E-861D-41F7-8BE7-002AF3ED5C7B}"/>
              </a:ext>
            </a:extLst>
          </p:cNvPr>
          <p:cNvSpPr/>
          <p:nvPr/>
        </p:nvSpPr>
        <p:spPr>
          <a:xfrm>
            <a:off x="3904223" y="4786431"/>
            <a:ext cx="3441122" cy="2194916"/>
          </a:xfrm>
          <a:prstGeom prst="roundRect">
            <a:avLst>
              <a:gd name="adj" fmla="val 3292"/>
            </a:avLst>
          </a:prstGeom>
          <a:noFill/>
          <a:ln w="9525">
            <a:solidFill>
              <a:srgbClr val="FF0000"/>
            </a:solidFill>
            <a:prstDash val="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B07FD6C6-8E4B-44D0-B90A-C0728C74628B}"/>
              </a:ext>
            </a:extLst>
          </p:cNvPr>
          <p:cNvSpPr/>
          <p:nvPr/>
        </p:nvSpPr>
        <p:spPr>
          <a:xfrm>
            <a:off x="900307" y="4968286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32" name="타원 31">
            <a:extLst>
              <a:ext uri="{FF2B5EF4-FFF2-40B4-BE49-F238E27FC236}">
                <a16:creationId xmlns:a16="http://schemas.microsoft.com/office/drawing/2014/main" id="{8023E79D-E518-4753-B9A0-998E7B458499}"/>
              </a:ext>
            </a:extLst>
          </p:cNvPr>
          <p:cNvSpPr/>
          <p:nvPr/>
        </p:nvSpPr>
        <p:spPr>
          <a:xfrm>
            <a:off x="3869080" y="4761706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00B6EE-F584-4347-B414-A6C20F8A6FA2}"/>
              </a:ext>
            </a:extLst>
          </p:cNvPr>
          <p:cNvSpPr txBox="1"/>
          <p:nvPr/>
        </p:nvSpPr>
        <p:spPr>
          <a:xfrm>
            <a:off x="1001784" y="4796856"/>
            <a:ext cx="21050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내용보기 하단에 </a:t>
            </a:r>
            <a:r>
              <a:rPr lang="ko-KR" altLang="en-US" sz="1400" b="1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보여짐</a:t>
            </a:r>
            <a:endParaRPr lang="ko-KR" altLang="en-US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B34A84C-58DF-412F-B953-AE73759C8740}"/>
              </a:ext>
            </a:extLst>
          </p:cNvPr>
          <p:cNvSpPr txBox="1"/>
          <p:nvPr/>
        </p:nvSpPr>
        <p:spPr>
          <a:xfrm>
            <a:off x="3945596" y="4571662"/>
            <a:ext cx="21050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내용보기 하단에 </a:t>
            </a:r>
            <a:r>
              <a:rPr lang="ko-KR" altLang="en-US" sz="1400" b="1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보여짐</a:t>
            </a:r>
            <a:endParaRPr lang="ko-KR" altLang="en-US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4" name="타원 33">
            <a:extLst>
              <a:ext uri="{FF2B5EF4-FFF2-40B4-BE49-F238E27FC236}">
                <a16:creationId xmlns:a16="http://schemas.microsoft.com/office/drawing/2014/main" id="{FD8E930A-3630-402F-A066-65177ED11636}"/>
              </a:ext>
            </a:extLst>
          </p:cNvPr>
          <p:cNvSpPr/>
          <p:nvPr/>
        </p:nvSpPr>
        <p:spPr>
          <a:xfrm>
            <a:off x="7694734" y="1763142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3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35" name="직선 연결선 34">
            <a:extLst>
              <a:ext uri="{FF2B5EF4-FFF2-40B4-BE49-F238E27FC236}">
                <a16:creationId xmlns:a16="http://schemas.microsoft.com/office/drawing/2014/main" id="{A2A737F7-B0B8-47DE-8411-8B87AE306162}"/>
              </a:ext>
            </a:extLst>
          </p:cNvPr>
          <p:cNvCxnSpPr>
            <a:cxnSpLocks/>
          </p:cNvCxnSpPr>
          <p:nvPr/>
        </p:nvCxnSpPr>
        <p:spPr>
          <a:xfrm>
            <a:off x="7638703" y="1682180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타원 35">
            <a:extLst>
              <a:ext uri="{FF2B5EF4-FFF2-40B4-BE49-F238E27FC236}">
                <a16:creationId xmlns:a16="http://schemas.microsoft.com/office/drawing/2014/main" id="{F4B07313-608E-499A-B0AC-0A79B63D010A}"/>
              </a:ext>
            </a:extLst>
          </p:cNvPr>
          <p:cNvSpPr/>
          <p:nvPr/>
        </p:nvSpPr>
        <p:spPr>
          <a:xfrm>
            <a:off x="7684042" y="2201868"/>
            <a:ext cx="153032" cy="153032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 rad="50800">
              <a:srgbClr val="FF0000">
                <a:alpha val="30000"/>
              </a:srgbClr>
            </a:glo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1" hangingPunct="1">
              <a:defRPr sz="140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+mj-lt"/>
                <a:ea typeface="나눔고딕" panose="020D0604000000000000" pitchFamily="50" charset="-127"/>
              </a:rPr>
              <a:t>4</a:t>
            </a:r>
            <a:endParaRPr lang="ko-KR" altLang="en-US" sz="1000" b="1" dirty="0">
              <a:latin typeface="+mj-lt"/>
              <a:ea typeface="나눔고딕" panose="020D0604000000000000" pitchFamily="50" charset="-127"/>
            </a:endParaRPr>
          </a:p>
        </p:txBody>
      </p:sp>
      <p:cxnSp>
        <p:nvCxnSpPr>
          <p:cNvPr id="37" name="직선 연결선 36">
            <a:extLst>
              <a:ext uri="{FF2B5EF4-FFF2-40B4-BE49-F238E27FC236}">
                <a16:creationId xmlns:a16="http://schemas.microsoft.com/office/drawing/2014/main" id="{CC1B7045-9F5D-432E-B4F0-EEAF8104F377}"/>
              </a:ext>
            </a:extLst>
          </p:cNvPr>
          <p:cNvCxnSpPr>
            <a:cxnSpLocks/>
          </p:cNvCxnSpPr>
          <p:nvPr/>
        </p:nvCxnSpPr>
        <p:spPr>
          <a:xfrm>
            <a:off x="7628011" y="2120906"/>
            <a:ext cx="2636360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49326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heme/theme1.xml><?xml version="1.0" encoding="utf-8"?>
<a:theme xmlns:a="http://schemas.openxmlformats.org/drawingml/2006/main" name="1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3175">
          <a:solidFill>
            <a:schemeClr val="bg1">
              <a:lumMod val="50000"/>
            </a:schemeClr>
          </a:solidFill>
          <a:prstDash val="solid"/>
        </a:ln>
      </a:spPr>
      <a:bodyPr rtlCol="0" anchor="ctr"/>
      <a:lstStyle>
        <a:defPPr algn="ctr">
          <a:defRPr sz="1200" dirty="0" err="1" smtClean="0">
            <a:latin typeface="아리따-돋움4.0(TTF)-Medium" panose="02020603020101020101" pitchFamily="18" charset="-127"/>
            <a:ea typeface="아리따-돋움4.0(TTF)-Medium" panose="02020603020101020101" pitchFamily="18" charset="-12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b="1" smtClean="0">
            <a:latin typeface="아리따-돋움(TTF)-Medium" panose="02020603020101020101" pitchFamily="18" charset="-127"/>
            <a:ea typeface="아리따-돋움(TTF)-Medium" panose="02020603020101020101" pitchFamily="18" charset="-127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>
          <a:solidFill>
            <a:schemeClr val="tx1"/>
          </a:solidFill>
          <a:headEnd type="oval" w="med" len="med"/>
          <a:tailEnd type="triangle" w="med" len="med"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FF0000"/>
          </a:solidFill>
          <a:headEnd type="oval" w="med" len="med"/>
          <a:tailEnd type="triangl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테마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Samsung Sans"/>
        <a:ea typeface=""/>
        <a:cs typeface=""/>
        <a:font script="Jpan" typeface="ＭＳ Ｐゴシック"/>
        <a:font script="Hang" typeface="Samsung Sans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Samsung Sans"/>
        <a:ea typeface=""/>
        <a:cs typeface=""/>
        <a:font script="Jpan" typeface="ＭＳ Ｐゴシック"/>
        <a:font script="Hang" typeface="Samsung Sans"/>
        <a:font script="Hans" typeface="宋体"/>
        <a:font script="Hant" typeface="新細明體"/>
        <a:font script="Arab" typeface="Samsung Sans"/>
        <a:font script="Hebr" typeface="Samsung Sans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Samsung Sans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Samsung Sans" panose="020F0302020204030204"/>
        <a:ea typeface=""/>
        <a:cs typeface=""/>
        <a:font script="Jpan" typeface="ＭＳ Ｐゴシック"/>
        <a:font script="Hang" typeface="Samsung Sans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Samsung Sans" panose="020F0502020204030204"/>
        <a:ea typeface=""/>
        <a:cs typeface=""/>
        <a:font script="Jpan" typeface="ＭＳ Ｐゴシック"/>
        <a:font script="Hang" typeface="Samsung Sans"/>
        <a:font script="Hans" typeface="宋体"/>
        <a:font script="Hant" typeface="新細明體"/>
        <a:font script="Arab" typeface="Samsung Sans"/>
        <a:font script="Hebr" typeface="Samsung Sans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Samsung Sans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138</TotalTime>
  <Words>2415</Words>
  <Application>Microsoft Office PowerPoint</Application>
  <PresentationFormat>사용자 지정</PresentationFormat>
  <Paragraphs>489</Paragraphs>
  <Slides>25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17</vt:i4>
      </vt:variant>
      <vt:variant>
        <vt:lpstr>테마</vt:lpstr>
      </vt:variant>
      <vt:variant>
        <vt:i4>3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5</vt:i4>
      </vt:variant>
    </vt:vector>
  </HeadingPairs>
  <TitlesOfParts>
    <vt:vector size="46" baseType="lpstr">
      <vt:lpstr>Proxima Nova</vt:lpstr>
      <vt:lpstr>Samsung Sans</vt:lpstr>
      <vt:lpstr>나눔고딕</vt:lpstr>
      <vt:lpstr>Malgun Gothic</vt:lpstr>
      <vt:lpstr>Malgun Gothic</vt:lpstr>
      <vt:lpstr>아리따-돋움(OTF)-Medium</vt:lpstr>
      <vt:lpstr>아리따-돋움(TTF)-Bold</vt:lpstr>
      <vt:lpstr>아리따-돋움(TTF)-Medium</vt:lpstr>
      <vt:lpstr>아리따-돋움(TTF)-SemiBold</vt:lpstr>
      <vt:lpstr>아리따-돋움4.0(OTF)-Bold</vt:lpstr>
      <vt:lpstr>아리따-돋움4.0(OTF)-Light</vt:lpstr>
      <vt:lpstr>아리따-돋움4.0(OTF)-Medium</vt:lpstr>
      <vt:lpstr>아리따-돋움4.0(OTF)-SemiBold</vt:lpstr>
      <vt:lpstr>아리따-돋움4.0(TTF)-Bold</vt:lpstr>
      <vt:lpstr>아리따-돋움4.0(TTF)-Medium</vt:lpstr>
      <vt:lpstr>Arial</vt:lpstr>
      <vt:lpstr>Wingdings</vt:lpstr>
      <vt:lpstr>1_Office 테마</vt:lpstr>
      <vt:lpstr>1_디자인 사용자 지정</vt:lpstr>
      <vt:lpstr>디자인 사용자 지정</vt:lpstr>
      <vt:lpstr>think-cell Slide</vt:lpstr>
      <vt:lpstr>PowerPoint 프레젠테이션</vt:lpstr>
      <vt:lpstr>변경 이력</vt:lpstr>
      <vt:lpstr>목차</vt:lpstr>
      <vt:lpstr>용어 이해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삼성엔지니어링 Migration</dc:title>
  <dc:creator>kyh</dc:creator>
  <cp:lastModifiedBy>MZC02-SANGDOPARK</cp:lastModifiedBy>
  <cp:revision>3842</cp:revision>
  <cp:lastPrinted>2020-03-24T15:10:06Z</cp:lastPrinted>
  <dcterms:created xsi:type="dcterms:W3CDTF">2016-11-25T02:47:12Z</dcterms:created>
  <dcterms:modified xsi:type="dcterms:W3CDTF">2022-07-11T06:57:36Z</dcterms:modified>
</cp:coreProperties>
</file>